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charts/chart5.xml" ContentType="application/vnd.openxmlformats-officedocument.drawingml.chart+xml"/>
  <Override PartName="/ppt/tags/tag31.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charts/chart13.xml" ContentType="application/vnd.openxmlformats-officedocument.drawingml.chart+xml"/>
  <Override PartName="/ppt/tags/tag3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8.xml" ContentType="application/vnd.openxmlformats-officedocument.presentationml.tags+xml"/>
  <Override PartName="/ppt/charts/chart22.xml" ContentType="application/vnd.openxmlformats-officedocument.drawingml.chart+xml"/>
  <Override PartName="/ppt/tags/tag39.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42.xml" ContentType="application/vnd.openxmlformats-officedocument.presentationml.tags+xml"/>
  <Override PartName="/ppt/charts/chart30.xml" ContentType="application/vnd.openxmlformats-officedocument.drawingml.chart+xml"/>
  <Override PartName="/ppt/tags/tag4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notesSlides/notesSlide6.xml" ContentType="application/vnd.openxmlformats-officedocument.presentationml.notesSlide+xml"/>
  <Override PartName="/ppt/charts/chart33.xml" ContentType="application/vnd.openxmlformats-officedocument.drawingml.chart+xml"/>
  <Override PartName="/ppt/tags/tag46.xml" ContentType="application/vnd.openxmlformats-officedocument.presentationml.tags+xml"/>
  <Override PartName="/ppt/charts/chart34.xml" ContentType="application/vnd.openxmlformats-officedocument.drawingml.chart+xml"/>
  <Override PartName="/ppt/tags/tag47.xml" ContentType="application/vnd.openxmlformats-officedocument.presentationml.tags+xml"/>
  <Override PartName="/ppt/charts/chart35.xml" ContentType="application/vnd.openxmlformats-officedocument.drawingml.chart+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50.xml" ContentType="application/vnd.openxmlformats-officedocument.presentationml.tags+xml"/>
  <Override PartName="/ppt/charts/chart39.xml" ContentType="application/vnd.openxmlformats-officedocument.drawingml.chart+xml"/>
  <Override PartName="/ppt/tags/tag5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52.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tags/tag54.xml" ContentType="application/vnd.openxmlformats-officedocument.presentationml.tags+xml"/>
  <Override PartName="/ppt/charts/chart45.xml" ContentType="application/vnd.openxmlformats-officedocument.drawingml.chart+xml"/>
  <Override PartName="/ppt/tags/tag55.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tags/tag56.xml" ContentType="application/vnd.openxmlformats-officedocument.presentationml.tags+xml"/>
  <Override PartName="/ppt/notesSlides/notesSlide9.xml" ContentType="application/vnd.openxmlformats-officedocument.presentationml.notesSlide+xml"/>
  <Override PartName="/ppt/tags/tag57.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58.xml" ContentType="application/vnd.openxmlformats-officedocument.presentationml.tags+xml"/>
  <Override PartName="/ppt/charts/chart52.xml" ContentType="application/vnd.openxmlformats-officedocument.drawingml.chart+xml"/>
  <Override PartName="/ppt/tags/tag59.xml" ContentType="application/vnd.openxmlformats-officedocument.presentationml.tags+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60.xml" ContentType="application/vnd.openxmlformats-officedocument.presentationml.tags+xml"/>
  <Override PartName="/ppt/notesSlides/notesSlide10.xml" ContentType="application/vnd.openxmlformats-officedocument.presentationml.notesSlide+xml"/>
  <Override PartName="/ppt/tags/tag61.xml" ContentType="application/vnd.openxmlformats-officedocument.presentationml.tags+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62.xml" ContentType="application/vnd.openxmlformats-officedocument.presentationml.tags+xml"/>
  <Override PartName="/ppt/charts/chart61.xml" ContentType="application/vnd.openxmlformats-officedocument.drawingml.chart+xml"/>
  <Override PartName="/ppt/tags/tag63.xml" ContentType="application/vnd.openxmlformats-officedocument.presentationml.tags+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tags/tag64.xml" ContentType="application/vnd.openxmlformats-officedocument.presentationml.tags+xml"/>
  <Override PartName="/ppt/notesSlides/notesSlide11.xml" ContentType="application/vnd.openxmlformats-officedocument.presentationml.notesSlide+xml"/>
  <Override PartName="/ppt/tags/tag65.xml" ContentType="application/vnd.openxmlformats-officedocument.presentationml.tags+xml"/>
  <Override PartName="/ppt/notesSlides/notesSlide12.xml" ContentType="application/vnd.openxmlformats-officedocument.presentationml.notesSlide+xml"/>
  <Override PartName="/ppt/charts/chart66.xml" ContentType="application/vnd.openxmlformats-officedocument.drawingml.chart+xml"/>
  <Override PartName="/ppt/tags/tag66.xml" ContentType="application/vnd.openxmlformats-officedocument.presentationml.tags+xml"/>
  <Override PartName="/ppt/charts/chart67.xml" ContentType="application/vnd.openxmlformats-officedocument.drawingml.chart+xml"/>
  <Override PartName="/ppt/tags/tag67.xml" ContentType="application/vnd.openxmlformats-officedocument.presentationml.tags+xml"/>
  <Override PartName="/ppt/charts/chart6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45"/>
  </p:notesMasterIdLst>
  <p:sldIdLst>
    <p:sldId id="2147475204" r:id="rId5"/>
    <p:sldId id="2147475205" r:id="rId6"/>
    <p:sldId id="2147475206" r:id="rId7"/>
    <p:sldId id="2147475207" r:id="rId8"/>
    <p:sldId id="2147475208" r:id="rId9"/>
    <p:sldId id="2147475209" r:id="rId10"/>
    <p:sldId id="2147475210" r:id="rId11"/>
    <p:sldId id="2147475211" r:id="rId12"/>
    <p:sldId id="2147475212" r:id="rId13"/>
    <p:sldId id="2147475213" r:id="rId14"/>
    <p:sldId id="2147475214" r:id="rId15"/>
    <p:sldId id="2147475215" r:id="rId16"/>
    <p:sldId id="2147475216" r:id="rId17"/>
    <p:sldId id="2147475217" r:id="rId18"/>
    <p:sldId id="2147475218" r:id="rId19"/>
    <p:sldId id="2147475219" r:id="rId20"/>
    <p:sldId id="2147475220" r:id="rId21"/>
    <p:sldId id="2147475221" r:id="rId22"/>
    <p:sldId id="2147475222" r:id="rId23"/>
    <p:sldId id="2147475223" r:id="rId24"/>
    <p:sldId id="2147475224" r:id="rId25"/>
    <p:sldId id="2147475225" r:id="rId26"/>
    <p:sldId id="2147475226" r:id="rId27"/>
    <p:sldId id="2147475227" r:id="rId28"/>
    <p:sldId id="2147475228" r:id="rId29"/>
    <p:sldId id="2147475229" r:id="rId30"/>
    <p:sldId id="2147475230" r:id="rId31"/>
    <p:sldId id="2147475231" r:id="rId32"/>
    <p:sldId id="2147475232" r:id="rId33"/>
    <p:sldId id="2147475233" r:id="rId34"/>
    <p:sldId id="2147475234" r:id="rId35"/>
    <p:sldId id="2147475235" r:id="rId36"/>
    <p:sldId id="2147475236" r:id="rId37"/>
    <p:sldId id="2147475237" r:id="rId38"/>
    <p:sldId id="2147475238" r:id="rId39"/>
    <p:sldId id="2147475239" r:id="rId40"/>
    <p:sldId id="2147475240" r:id="rId41"/>
    <p:sldId id="2147475241" r:id="rId42"/>
    <p:sldId id="2147475242" r:id="rId43"/>
    <p:sldId id="2147475243"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lades Inno (1)" id="{D54F34A7-69A9-46E3-80C5-E044A2415080}">
          <p14:sldIdLst>
            <p14:sldId id="2147475204"/>
            <p14:sldId id="2147475205"/>
            <p14:sldId id="2147475206"/>
            <p14:sldId id="2147475207"/>
          </p14:sldIdLst>
        </p14:section>
        <p14:section name="Blades Inno (2)" id="{22A829E4-9141-4237-BF4D-AF56F6637AAF}">
          <p14:sldIdLst>
            <p14:sldId id="2147475208"/>
            <p14:sldId id="2147475209"/>
            <p14:sldId id="2147475210"/>
            <p14:sldId id="2147475211"/>
          </p14:sldIdLst>
        </p14:section>
        <p14:section name="Dispo Inno (1)" id="{4956DCD1-01B8-4F2B-92D1-1E3126AE128F}">
          <p14:sldIdLst>
            <p14:sldId id="2147475212"/>
            <p14:sldId id="2147475213"/>
            <p14:sldId id="2147475214"/>
            <p14:sldId id="2147475215"/>
          </p14:sldIdLst>
        </p14:section>
        <p14:section name="Dispo Inno (2)" id="{4F11A93B-0ECC-4B66-A9CB-EF686B0B3D3B}">
          <p14:sldIdLst>
            <p14:sldId id="2147475216"/>
            <p14:sldId id="2147475217"/>
            <p14:sldId id="2147475218"/>
            <p14:sldId id="2147475219"/>
          </p14:sldIdLst>
        </p14:section>
        <p14:section name="Equate Blades Inno" id="{860FB2D4-9B17-49A6-835A-883D5EF3B792}">
          <p14:sldIdLst>
            <p14:sldId id="2147475220"/>
            <p14:sldId id="2147475221"/>
            <p14:sldId id="2147475222"/>
            <p14:sldId id="2147475223"/>
          </p14:sldIdLst>
        </p14:section>
        <p14:section name="Equate Dispo Inno" id="{5E190C3D-9655-44E9-B1EC-A526A8E22035}">
          <p14:sldIdLst>
            <p14:sldId id="2147475224"/>
            <p14:sldId id="2147475225"/>
            <p14:sldId id="2147475226"/>
            <p14:sldId id="2147475227"/>
          </p14:sldIdLst>
        </p14:section>
        <p14:section name="Equate Razor Inno" id="{F3B44B70-48AC-401F-B26F-E3EB60B2B449}">
          <p14:sldIdLst>
            <p14:sldId id="2147475228"/>
            <p14:sldId id="2147475229"/>
            <p14:sldId id="2147475230"/>
            <p14:sldId id="2147475231"/>
          </p14:sldIdLst>
        </p14:section>
        <p14:section name="Razor Inno (1)" id="{FD3E4B61-CA27-4E9C-8EA9-C0AA1916FC2A}">
          <p14:sldIdLst>
            <p14:sldId id="2147475232"/>
            <p14:sldId id="2147475233"/>
            <p14:sldId id="2147475234"/>
            <p14:sldId id="2147475235"/>
          </p14:sldIdLst>
        </p14:section>
        <p14:section name="Razor Inno (2)" id="{464547C5-5129-403B-B724-B41F343F6CF7}">
          <p14:sldIdLst>
            <p14:sldId id="2147475236"/>
            <p14:sldId id="2147475237"/>
            <p14:sldId id="2147475238"/>
            <p14:sldId id="2147475239"/>
          </p14:sldIdLst>
        </p14:section>
        <p14:section name="Wilkinson Sword" id="{1663E10E-E061-4EB9-9EA8-3B9AB6C4BAF7}">
          <p14:sldIdLst>
            <p14:sldId id="2147475240"/>
            <p14:sldId id="2147475241"/>
            <p14:sldId id="2147475242"/>
            <p14:sldId id="214747524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Pro Sensitiv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7ECAC4"/>
              </a:solidFill>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006C6D"/>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r>
                      <a:rPr lang="en-US" sz="500">
                        <a:solidFill>
                          <a:srgbClr val="006C6D"/>
                        </a:solidFill>
                      </a:rPr>
                      <a:t>Schick Hydro 3 Blade Pro Sensitiv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Harry's Men Five Blade Refills 12 Pack</c:v>
                </c:pt>
                <c:pt idx="16">
                  <c:v>Gillette Fusion 5 Blade Refills 12 Pack</c:v>
                </c:pt>
                <c:pt idx="17">
                  <c:v>Schick Hydro 5 Blade Sensitive Refills 6 Pack</c:v>
                </c:pt>
                <c:pt idx="18">
                  <c:v>Gillette Fusion 5 Proglide Blade Refills 12 Pack</c:v>
                </c:pt>
                <c:pt idx="19">
                  <c:v>Gillette Fusion 5 1 Handle + 2 Cartridges</c:v>
                </c:pt>
                <c:pt idx="20">
                  <c:v>Schick Xtreme 3 Sensitive Disposable Razors 4 Pack</c:v>
                </c:pt>
                <c:pt idx="21">
                  <c:v>Schick Hydro 3 Blade Ultra Sensitive Refills 5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Schick Hydro 3 Blade Pro Sensitive Refills 6 Pack</c:v>
                </c:pt>
                <c:pt idx="40">
                  <c:v>Gillette Fusion 5 1 Handle + 7 Cartridges</c:v>
                </c:pt>
                <c:pt idx="41">
                  <c:v>Dollar Shave Club 6 Blades Blade Refills 8 Pack</c:v>
                </c:pt>
                <c:pt idx="42">
                  <c:v>Schick Hydro 5 Blade Sensitive 1 Handle + 3 Cartridges</c:v>
                </c:pt>
                <c:pt idx="43">
                  <c:v>Gillette Mach 3 1 Handle + 6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Schick Hydro 5 Blade Sensitive Refills 12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26673304629841</c:v>
                </c:pt>
                <c:pt idx="1">
                  <c:v>0.11381600361434044</c:v>
                </c:pt>
                <c:pt idx="2">
                  <c:v>0.10223131407122465</c:v>
                </c:pt>
                <c:pt idx="3">
                  <c:v>0.10203634204448891</c:v>
                </c:pt>
                <c:pt idx="4">
                  <c:v>8.8036467052293052E-2</c:v>
                </c:pt>
                <c:pt idx="5">
                  <c:v>6.6094645304691321E-2</c:v>
                </c:pt>
                <c:pt idx="6">
                  <c:v>5.522062888107987E-2</c:v>
                </c:pt>
                <c:pt idx="7">
                  <c:v>5.4106514678785786E-2</c:v>
                </c:pt>
                <c:pt idx="8">
                  <c:v>5.4049537141191289E-2</c:v>
                </c:pt>
                <c:pt idx="9">
                  <c:v>4.8440721771558656E-2</c:v>
                </c:pt>
                <c:pt idx="10">
                  <c:v>4.4062964446183371E-2</c:v>
                </c:pt>
                <c:pt idx="11">
                  <c:v>4.3455700508819244E-2</c:v>
                </c:pt>
                <c:pt idx="12">
                  <c:v>3.910177416507455E-2</c:v>
                </c:pt>
                <c:pt idx="13">
                  <c:v>3.7989754072031312E-2</c:v>
                </c:pt>
                <c:pt idx="14">
                  <c:v>3.5649553509060961E-2</c:v>
                </c:pt>
                <c:pt idx="15">
                  <c:v>2.8738548096763857E-2</c:v>
                </c:pt>
                <c:pt idx="16">
                  <c:v>2.7946847684416472E-2</c:v>
                </c:pt>
                <c:pt idx="17">
                  <c:v>2.7315534645741817E-2</c:v>
                </c:pt>
                <c:pt idx="18">
                  <c:v>2.6720099777571563E-2</c:v>
                </c:pt>
                <c:pt idx="19">
                  <c:v>2.6167244487973765E-2</c:v>
                </c:pt>
                <c:pt idx="20">
                  <c:v>2.599890398591094E-2</c:v>
                </c:pt>
                <c:pt idx="21">
                  <c:v>2.5740856195100695E-2</c:v>
                </c:pt>
                <c:pt idx="22">
                  <c:v>2.5597887506138142E-2</c:v>
                </c:pt>
                <c:pt idx="23">
                  <c:v>2.5277729629238299E-2</c:v>
                </c:pt>
                <c:pt idx="24">
                  <c:v>2.3014238195746925E-2</c:v>
                </c:pt>
                <c:pt idx="25">
                  <c:v>2.200852703453577E-2</c:v>
                </c:pt>
                <c:pt idx="26">
                  <c:v>2.1833909147045621E-2</c:v>
                </c:pt>
                <c:pt idx="27">
                  <c:v>2.1435531568050267E-2</c:v>
                </c:pt>
                <c:pt idx="28">
                  <c:v>2.1305572199156183E-2</c:v>
                </c:pt>
                <c:pt idx="29">
                  <c:v>2.1091316480521656E-2</c:v>
                </c:pt>
                <c:pt idx="30">
                  <c:v>2.0707145234094886E-2</c:v>
                </c:pt>
                <c:pt idx="31">
                  <c:v>2.0503930301424833E-2</c:v>
                </c:pt>
                <c:pt idx="32">
                  <c:v>2.0081002689506865E-2</c:v>
                </c:pt>
                <c:pt idx="33">
                  <c:v>1.9191092247805762E-2</c:v>
                </c:pt>
                <c:pt idx="34">
                  <c:v>1.9153878549908892E-2</c:v>
                </c:pt>
                <c:pt idx="35">
                  <c:v>1.8931020722248098E-2</c:v>
                </c:pt>
                <c:pt idx="36">
                  <c:v>1.8795764473460205E-2</c:v>
                </c:pt>
                <c:pt idx="37">
                  <c:v>1.8448768644596499E-2</c:v>
                </c:pt>
                <c:pt idx="38">
                  <c:v>1.8374644866140499E-2</c:v>
                </c:pt>
                <c:pt idx="39">
                  <c:v>1.8226362781530597E-2</c:v>
                </c:pt>
                <c:pt idx="40">
                  <c:v>1.8171885914178763E-2</c:v>
                </c:pt>
                <c:pt idx="41">
                  <c:v>1.7480567744415237E-2</c:v>
                </c:pt>
                <c:pt idx="42">
                  <c:v>1.6938167473653981E-2</c:v>
                </c:pt>
                <c:pt idx="43">
                  <c:v>1.6936924368398717E-2</c:v>
                </c:pt>
                <c:pt idx="44">
                  <c:v>1.643146948443865E-2</c:v>
                </c:pt>
                <c:pt idx="45">
                  <c:v>1.6249044118542527E-2</c:v>
                </c:pt>
                <c:pt idx="46">
                  <c:v>1.6104184116666306E-2</c:v>
                </c:pt>
                <c:pt idx="47">
                  <c:v>1.6008831135195356E-2</c:v>
                </c:pt>
                <c:pt idx="48">
                  <c:v>1.5953752162142291E-2</c:v>
                </c:pt>
                <c:pt idx="49">
                  <c:v>1.5585336955491831E-2</c:v>
                </c:pt>
                <c:pt idx="50">
                  <c:v>1.4179920959166504E-2</c:v>
                </c:pt>
                <c:pt idx="51">
                  <c:v>1.3936292766614235E-2</c:v>
                </c:pt>
                <c:pt idx="52">
                  <c:v>1.3502439964480315E-2</c:v>
                </c:pt>
                <c:pt idx="53">
                  <c:v>1.3233299218931632E-2</c:v>
                </c:pt>
                <c:pt idx="54">
                  <c:v>1.3105534730519886E-2</c:v>
                </c:pt>
                <c:pt idx="55">
                  <c:v>1.2914344731355517E-2</c:v>
                </c:pt>
                <c:pt idx="56">
                  <c:v>1.2721126291234374E-2</c:v>
                </c:pt>
                <c:pt idx="57">
                  <c:v>1.262470414964072E-2</c:v>
                </c:pt>
                <c:pt idx="58">
                  <c:v>1.2073179704858734E-2</c:v>
                </c:pt>
                <c:pt idx="59">
                  <c:v>1.08002658734992E-2</c:v>
                </c:pt>
                <c:pt idx="60">
                  <c:v>1.029411740692894E-2</c:v>
                </c:pt>
                <c:pt idx="61">
                  <c:v>9.2530053394519456E-3</c:v>
                </c:pt>
                <c:pt idx="62">
                  <c:v>9.088815653903768E-3</c:v>
                </c:pt>
                <c:pt idx="63">
                  <c:v>9.0795312289815543E-3</c:v>
                </c:pt>
                <c:pt idx="64">
                  <c:v>9.0283998298866311E-3</c:v>
                </c:pt>
                <c:pt idx="65">
                  <c:v>8.7392498089858359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Ingrown Defens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7ECAC4"/>
              </a:solidFill>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006C6D"/>
              </a:solidFill>
            </c:spPr>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r>
                      <a:rPr lang="en-US" sz="500">
                        <a:solidFill>
                          <a:srgbClr val="006C6D"/>
                        </a:solidFill>
                      </a:rPr>
                      <a:t>Schick Hydro 3 Blade Ingrown Defens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Schick Hydro 5 Blade Sensitive Refills 6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Bic Flex 4 Sensitive Skin Disposable Razors 3 Pack</c:v>
                </c:pt>
                <c:pt idx="47">
                  <c:v>Gillette Fusion 5 1 Handle + 3 Cartridges Holiday Pack</c:v>
                </c:pt>
                <c:pt idx="48">
                  <c:v>Gillette Fusion 5 Proglide 1 Handle + 4 Cartridges</c:v>
                </c:pt>
                <c:pt idx="49">
                  <c:v>Schick Hydro 3 Blade Ingrown Defense Refills 6 Pack</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Schick Hydro 5 Blade Sensitive Refills 12 Pack</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244459944010226</c:v>
                </c:pt>
                <c:pt idx="1">
                  <c:v>0.11381663495014804</c:v>
                </c:pt>
                <c:pt idx="2">
                  <c:v>0.1021189801237446</c:v>
                </c:pt>
                <c:pt idx="3">
                  <c:v>0.10192441555005888</c:v>
                </c:pt>
                <c:pt idx="4">
                  <c:v>8.7939679448222396E-2</c:v>
                </c:pt>
                <c:pt idx="5">
                  <c:v>6.6021992986389791E-2</c:v>
                </c:pt>
                <c:pt idx="6">
                  <c:v>5.5220813278981963E-2</c:v>
                </c:pt>
                <c:pt idx="7">
                  <c:v>5.4106726401362798E-2</c:v>
                </c:pt>
                <c:pt idx="8">
                  <c:v>5.4049637660743978E-2</c:v>
                </c:pt>
                <c:pt idx="9">
                  <c:v>4.838761743304941E-2</c:v>
                </c:pt>
                <c:pt idx="10">
                  <c:v>4.4014747028262427E-2</c:v>
                </c:pt>
                <c:pt idx="11">
                  <c:v>4.3407935074430463E-2</c:v>
                </c:pt>
                <c:pt idx="12">
                  <c:v>3.9058784604647637E-2</c:v>
                </c:pt>
                <c:pt idx="13">
                  <c:v>3.7989831866733166E-2</c:v>
                </c:pt>
                <c:pt idx="14">
                  <c:v>3.5610487801261838E-2</c:v>
                </c:pt>
                <c:pt idx="15">
                  <c:v>2.994596543396456E-2</c:v>
                </c:pt>
                <c:pt idx="16">
                  <c:v>2.8706947935979575E-2</c:v>
                </c:pt>
                <c:pt idx="17">
                  <c:v>2.8330646332422712E-2</c:v>
                </c:pt>
                <c:pt idx="18">
                  <c:v>2.7916115670817056E-2</c:v>
                </c:pt>
                <c:pt idx="19">
                  <c:v>2.6690712251378469E-2</c:v>
                </c:pt>
                <c:pt idx="20">
                  <c:v>2.6167337157207923E-2</c:v>
                </c:pt>
                <c:pt idx="21">
                  <c:v>2.5999449197428564E-2</c:v>
                </c:pt>
                <c:pt idx="22">
                  <c:v>2.5598218189012815E-2</c:v>
                </c:pt>
                <c:pt idx="23">
                  <c:v>2.5277974319052147E-2</c:v>
                </c:pt>
                <c:pt idx="24">
                  <c:v>2.3014307229106239E-2</c:v>
                </c:pt>
                <c:pt idx="25">
                  <c:v>2.2008725598947957E-2</c:v>
                </c:pt>
                <c:pt idx="26">
                  <c:v>2.1834246491229347E-2</c:v>
                </c:pt>
                <c:pt idx="27">
                  <c:v>2.1435765681856737E-2</c:v>
                </c:pt>
                <c:pt idx="28">
                  <c:v>2.1305705104549117E-2</c:v>
                </c:pt>
                <c:pt idx="29">
                  <c:v>2.1091436394530091E-2</c:v>
                </c:pt>
                <c:pt idx="30">
                  <c:v>2.068443224956731E-2</c:v>
                </c:pt>
                <c:pt idx="31">
                  <c:v>2.0504100339821824E-2</c:v>
                </c:pt>
                <c:pt idx="32">
                  <c:v>2.0081164936095717E-2</c:v>
                </c:pt>
                <c:pt idx="33">
                  <c:v>1.9191273114390204E-2</c:v>
                </c:pt>
                <c:pt idx="34">
                  <c:v>1.915397665240991E-2</c:v>
                </c:pt>
                <c:pt idx="35">
                  <c:v>1.893115662884472E-2</c:v>
                </c:pt>
                <c:pt idx="36">
                  <c:v>1.8795900700816059E-2</c:v>
                </c:pt>
                <c:pt idx="37">
                  <c:v>1.8448808129623875E-2</c:v>
                </c:pt>
                <c:pt idx="38">
                  <c:v>1.8374742562921011E-2</c:v>
                </c:pt>
                <c:pt idx="39">
                  <c:v>1.8171914130113622E-2</c:v>
                </c:pt>
                <c:pt idx="40">
                  <c:v>1.7461427725134069E-2</c:v>
                </c:pt>
                <c:pt idx="41">
                  <c:v>1.6937016179665105E-2</c:v>
                </c:pt>
                <c:pt idx="42">
                  <c:v>1.6934958876711093E-2</c:v>
                </c:pt>
                <c:pt idx="43">
                  <c:v>1.643182331570826E-2</c:v>
                </c:pt>
                <c:pt idx="44">
                  <c:v>1.6249116270479168E-2</c:v>
                </c:pt>
                <c:pt idx="45">
                  <c:v>1.6100757012307256E-2</c:v>
                </c:pt>
                <c:pt idx="46">
                  <c:v>1.6009081767943887E-2</c:v>
                </c:pt>
                <c:pt idx="47">
                  <c:v>1.5953816774930494E-2</c:v>
                </c:pt>
                <c:pt idx="48">
                  <c:v>1.5585382729489713E-2</c:v>
                </c:pt>
                <c:pt idx="49">
                  <c:v>1.4343277404634331E-2</c:v>
                </c:pt>
                <c:pt idx="50">
                  <c:v>1.4180001281978209E-2</c:v>
                </c:pt>
                <c:pt idx="51">
                  <c:v>1.3936408626723054E-2</c:v>
                </c:pt>
                <c:pt idx="52">
                  <c:v>1.3487619236540354E-2</c:v>
                </c:pt>
                <c:pt idx="53">
                  <c:v>1.3233352535758544E-2</c:v>
                </c:pt>
                <c:pt idx="54">
                  <c:v>1.2914498904288439E-2</c:v>
                </c:pt>
                <c:pt idx="55">
                  <c:v>1.2773950985812335E-2</c:v>
                </c:pt>
                <c:pt idx="56">
                  <c:v>1.2721252266037538E-2</c:v>
                </c:pt>
                <c:pt idx="57">
                  <c:v>1.2624780809271477E-2</c:v>
                </c:pt>
                <c:pt idx="58">
                  <c:v>1.2073308119894682E-2</c:v>
                </c:pt>
                <c:pt idx="59">
                  <c:v>1.080033109509272E-2</c:v>
                </c:pt>
                <c:pt idx="60">
                  <c:v>1.0294250113879456E-2</c:v>
                </c:pt>
                <c:pt idx="61">
                  <c:v>9.2530430090027819E-3</c:v>
                </c:pt>
                <c:pt idx="62">
                  <c:v>9.0889252194472289E-3</c:v>
                </c:pt>
                <c:pt idx="63">
                  <c:v>9.0795922566085895E-3</c:v>
                </c:pt>
                <c:pt idx="64">
                  <c:v>9.0284561188547739E-3</c:v>
                </c:pt>
                <c:pt idx="65">
                  <c:v>8.7296652835796365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Advanced Hydration Refills 6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006C6D"/>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r>
                      <a:rPr lang="en-US" sz="500">
                        <a:solidFill>
                          <a:srgbClr val="006C6D"/>
                        </a:solidFill>
                      </a:rPr>
                      <a:t>Schick Hydro 5 Blade Advanced Hydration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Gillette Fusion 5 Blade Refills 12 Pack</c:v>
                </c:pt>
                <c:pt idx="18">
                  <c:v>Gillette Fusion 5 Proglide Blade Refills 12 Pack</c:v>
                </c:pt>
                <c:pt idx="19">
                  <c:v>Gillette Fusion 5 1 Handle + 2 Cartridges</c:v>
                </c:pt>
                <c:pt idx="20">
                  <c:v>Schick Xtreme 3 Sensitive Disposable Razors 4 Pack</c:v>
                </c:pt>
                <c:pt idx="21">
                  <c:v>Schick Hydro 5 Blade Sensitive Refills 6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Schick Hydro 5 Blade Advanced Hydration Refills 6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Schick Hydro 5 Blade Sensitive Refills 1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243806076901538</c:v>
                </c:pt>
                <c:pt idx="1">
                  <c:v>0.11381663495014804</c:v>
                </c:pt>
                <c:pt idx="2">
                  <c:v>0.10211568182670627</c:v>
                </c:pt>
                <c:pt idx="3">
                  <c:v>0.10192112353717808</c:v>
                </c:pt>
                <c:pt idx="4">
                  <c:v>8.7936839122320948E-2</c:v>
                </c:pt>
                <c:pt idx="5">
                  <c:v>6.6019860570421002E-2</c:v>
                </c:pt>
                <c:pt idx="6">
                  <c:v>5.5220813278981963E-2</c:v>
                </c:pt>
                <c:pt idx="7">
                  <c:v>5.4106726401362798E-2</c:v>
                </c:pt>
                <c:pt idx="8">
                  <c:v>5.4049637660743978E-2</c:v>
                </c:pt>
                <c:pt idx="9">
                  <c:v>4.8386054582195651E-2</c:v>
                </c:pt>
                <c:pt idx="10">
                  <c:v>4.4013325414869992E-2</c:v>
                </c:pt>
                <c:pt idx="11">
                  <c:v>4.3406533060196449E-2</c:v>
                </c:pt>
                <c:pt idx="12">
                  <c:v>3.9057523061754973E-2</c:v>
                </c:pt>
                <c:pt idx="13">
                  <c:v>3.7989831866733166E-2</c:v>
                </c:pt>
                <c:pt idx="14">
                  <c:v>3.5609337633425206E-2</c:v>
                </c:pt>
                <c:pt idx="15">
                  <c:v>3.145170631567016E-2</c:v>
                </c:pt>
                <c:pt idx="16">
                  <c:v>2.8706020742609237E-2</c:v>
                </c:pt>
                <c:pt idx="17">
                  <c:v>2.7915214020198066E-2</c:v>
                </c:pt>
                <c:pt idx="18">
                  <c:v>2.668985017953773E-2</c:v>
                </c:pt>
                <c:pt idx="19">
                  <c:v>2.6167337157207923E-2</c:v>
                </c:pt>
                <c:pt idx="20">
                  <c:v>2.5999449197428564E-2</c:v>
                </c:pt>
                <c:pt idx="21">
                  <c:v>2.568251828417769E-2</c:v>
                </c:pt>
                <c:pt idx="22">
                  <c:v>2.5598218189012815E-2</c:v>
                </c:pt>
                <c:pt idx="23">
                  <c:v>2.5277974319052147E-2</c:v>
                </c:pt>
                <c:pt idx="24">
                  <c:v>2.3014307229106239E-2</c:v>
                </c:pt>
                <c:pt idx="25">
                  <c:v>2.2008725598947957E-2</c:v>
                </c:pt>
                <c:pt idx="26">
                  <c:v>2.1834246491229347E-2</c:v>
                </c:pt>
                <c:pt idx="27">
                  <c:v>2.1435765681856737E-2</c:v>
                </c:pt>
                <c:pt idx="28">
                  <c:v>2.1305705104549117E-2</c:v>
                </c:pt>
                <c:pt idx="29">
                  <c:v>2.1091436394530091E-2</c:v>
                </c:pt>
                <c:pt idx="30">
                  <c:v>2.0683764171982269E-2</c:v>
                </c:pt>
                <c:pt idx="31">
                  <c:v>2.0504100339821824E-2</c:v>
                </c:pt>
                <c:pt idx="32">
                  <c:v>2.0081164936095717E-2</c:v>
                </c:pt>
                <c:pt idx="33">
                  <c:v>1.9191273114390204E-2</c:v>
                </c:pt>
                <c:pt idx="34">
                  <c:v>1.915397665240991E-2</c:v>
                </c:pt>
                <c:pt idx="35">
                  <c:v>1.893115662884472E-2</c:v>
                </c:pt>
                <c:pt idx="36">
                  <c:v>1.8795900700816059E-2</c:v>
                </c:pt>
                <c:pt idx="37">
                  <c:v>1.8448808129623875E-2</c:v>
                </c:pt>
                <c:pt idx="38">
                  <c:v>1.8374742562921011E-2</c:v>
                </c:pt>
                <c:pt idx="39">
                  <c:v>1.8171914130113622E-2</c:v>
                </c:pt>
                <c:pt idx="40">
                  <c:v>1.7460863745986599E-2</c:v>
                </c:pt>
                <c:pt idx="41">
                  <c:v>1.6981231647284812E-2</c:v>
                </c:pt>
                <c:pt idx="42">
                  <c:v>1.6937016179665105E-2</c:v>
                </c:pt>
                <c:pt idx="43">
                  <c:v>1.6934958876711093E-2</c:v>
                </c:pt>
                <c:pt idx="44">
                  <c:v>1.643182331570826E-2</c:v>
                </c:pt>
                <c:pt idx="45">
                  <c:v>1.6249116270479168E-2</c:v>
                </c:pt>
                <c:pt idx="46">
                  <c:v>1.6100757012307256E-2</c:v>
                </c:pt>
                <c:pt idx="47">
                  <c:v>1.6009081767943887E-2</c:v>
                </c:pt>
                <c:pt idx="48">
                  <c:v>1.5953816774930494E-2</c:v>
                </c:pt>
                <c:pt idx="49">
                  <c:v>1.5585382729489713E-2</c:v>
                </c:pt>
                <c:pt idx="50">
                  <c:v>1.4180001281978209E-2</c:v>
                </c:pt>
                <c:pt idx="51">
                  <c:v>1.3936408626723054E-2</c:v>
                </c:pt>
                <c:pt idx="52">
                  <c:v>1.3487183605724925E-2</c:v>
                </c:pt>
                <c:pt idx="53">
                  <c:v>1.3233352535758544E-2</c:v>
                </c:pt>
                <c:pt idx="54">
                  <c:v>1.2914498904288439E-2</c:v>
                </c:pt>
                <c:pt idx="55">
                  <c:v>1.2721252266037538E-2</c:v>
                </c:pt>
                <c:pt idx="56">
                  <c:v>1.2624780809271477E-2</c:v>
                </c:pt>
                <c:pt idx="57">
                  <c:v>1.2073308119894682E-2</c:v>
                </c:pt>
                <c:pt idx="58">
                  <c:v>1.1307924380871238E-2</c:v>
                </c:pt>
                <c:pt idx="59">
                  <c:v>1.080033109509272E-2</c:v>
                </c:pt>
                <c:pt idx="60">
                  <c:v>1.0294250113879456E-2</c:v>
                </c:pt>
                <c:pt idx="61">
                  <c:v>9.2530430090027819E-3</c:v>
                </c:pt>
                <c:pt idx="62">
                  <c:v>9.0889252194472289E-3</c:v>
                </c:pt>
                <c:pt idx="63">
                  <c:v>9.0795922566085895E-3</c:v>
                </c:pt>
                <c:pt idx="64">
                  <c:v>9.0284561188547739E-3</c:v>
                </c:pt>
                <c:pt idx="65">
                  <c:v>8.7293833278735029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Chrom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7ECAC4"/>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006C6D"/>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spPr>
              <a:solidFill>
                <a:srgbClr val="7ECAC4"/>
              </a:solidFill>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r>
                      <a:rPr lang="en-US" sz="500">
                        <a:solidFill>
                          <a:srgbClr val="006C6D"/>
                        </a:solidFill>
                      </a:rPr>
                      <a:t>Schick Hydro 5 Blade Chrom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Gillette Fusion 5 Blade Refills 12 Pack</c:v>
                </c:pt>
                <c:pt idx="18">
                  <c:v>Schick Hydro 5 Blade Sensitive Refills 6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Schick Hydro 5 Blade Chrome Refills 6 Pack</c:v>
                </c:pt>
                <c:pt idx="34">
                  <c:v>Dollar Shave Club 6 1 Handle + 2 Blades</c:v>
                </c:pt>
                <c:pt idx="35">
                  <c:v>Gillette Sensor 3 Disposable Razors 12 Pack</c:v>
                </c:pt>
                <c:pt idx="36">
                  <c:v>Equate Speed 3 Disposable Razors 8 Pack</c:v>
                </c:pt>
                <c:pt idx="37">
                  <c:v>Bic Comfort 3 Sensitive Skin Disposable Razors 4 Pack</c:v>
                </c:pt>
                <c:pt idx="38">
                  <c:v>Gillette Fusion 5 1 Handle + 5 Cartridges</c:v>
                </c:pt>
                <c:pt idx="39">
                  <c:v>Gillette Sensor 3 Sensitive Disposable Razors 8 Pack</c:v>
                </c:pt>
                <c:pt idx="40">
                  <c:v>Gillette Fusion 5 1 Handle + 7 Cartridges</c:v>
                </c:pt>
                <c:pt idx="41">
                  <c:v>Dollar Shave Club 6 Blades Blade Refills 8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Schick Hydro 5 Blade Sensitive Refills 1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161839605857484</c:v>
                </c:pt>
                <c:pt idx="1">
                  <c:v>0.11381663495014804</c:v>
                </c:pt>
                <c:pt idx="2">
                  <c:v>0.10170221896079082</c:v>
                </c:pt>
                <c:pt idx="3">
                  <c:v>0.10150844843105168</c:v>
                </c:pt>
                <c:pt idx="4">
                  <c:v>8.7580785900399916E-2</c:v>
                </c:pt>
                <c:pt idx="5">
                  <c:v>6.5752548437059258E-2</c:v>
                </c:pt>
                <c:pt idx="6">
                  <c:v>5.5220813278981963E-2</c:v>
                </c:pt>
                <c:pt idx="7">
                  <c:v>5.4106726401362798E-2</c:v>
                </c:pt>
                <c:pt idx="8">
                  <c:v>5.4049637660743978E-2</c:v>
                </c:pt>
                <c:pt idx="9">
                  <c:v>4.8190141119737975E-2</c:v>
                </c:pt>
                <c:pt idx="10">
                  <c:v>4.3835116981660052E-2</c:v>
                </c:pt>
                <c:pt idx="11">
                  <c:v>4.3230781508255781E-2</c:v>
                </c:pt>
                <c:pt idx="12">
                  <c:v>3.8899380500967126E-2</c:v>
                </c:pt>
                <c:pt idx="13">
                  <c:v>3.7989831866733166E-2</c:v>
                </c:pt>
                <c:pt idx="14">
                  <c:v>3.546515665624432E-2</c:v>
                </c:pt>
                <c:pt idx="15">
                  <c:v>3.0379780654735056E-2</c:v>
                </c:pt>
                <c:pt idx="16">
                  <c:v>2.8589791056894465E-2</c:v>
                </c:pt>
                <c:pt idx="17">
                  <c:v>2.7802186283566774E-2</c:v>
                </c:pt>
                <c:pt idx="18">
                  <c:v>2.7109594424316649E-2</c:v>
                </c:pt>
                <c:pt idx="19">
                  <c:v>2.6581783898740496E-2</c:v>
                </c:pt>
                <c:pt idx="20">
                  <c:v>2.6167337157207923E-2</c:v>
                </c:pt>
                <c:pt idx="21">
                  <c:v>2.5999449197428564E-2</c:v>
                </c:pt>
                <c:pt idx="22">
                  <c:v>2.5598218189012815E-2</c:v>
                </c:pt>
                <c:pt idx="23">
                  <c:v>2.5277974319052147E-2</c:v>
                </c:pt>
                <c:pt idx="24">
                  <c:v>2.3014307229106239E-2</c:v>
                </c:pt>
                <c:pt idx="25">
                  <c:v>2.2008725598947957E-2</c:v>
                </c:pt>
                <c:pt idx="26">
                  <c:v>2.1834246491229347E-2</c:v>
                </c:pt>
                <c:pt idx="27">
                  <c:v>2.1435765681856737E-2</c:v>
                </c:pt>
                <c:pt idx="28">
                  <c:v>2.1305705104549117E-2</c:v>
                </c:pt>
                <c:pt idx="29">
                  <c:v>2.1091436394530091E-2</c:v>
                </c:pt>
                <c:pt idx="30">
                  <c:v>2.0600016325819127E-2</c:v>
                </c:pt>
                <c:pt idx="31">
                  <c:v>2.0504100339821824E-2</c:v>
                </c:pt>
                <c:pt idx="32">
                  <c:v>2.0081164936095717E-2</c:v>
                </c:pt>
                <c:pt idx="33">
                  <c:v>1.9998206401470844E-2</c:v>
                </c:pt>
                <c:pt idx="34">
                  <c:v>1.9191273114390204E-2</c:v>
                </c:pt>
                <c:pt idx="35">
                  <c:v>1.915397665240991E-2</c:v>
                </c:pt>
                <c:pt idx="36">
                  <c:v>1.893115662884472E-2</c:v>
                </c:pt>
                <c:pt idx="37">
                  <c:v>1.8795900700816059E-2</c:v>
                </c:pt>
                <c:pt idx="38">
                  <c:v>1.8448808129623875E-2</c:v>
                </c:pt>
                <c:pt idx="39">
                  <c:v>1.8374742562921011E-2</c:v>
                </c:pt>
                <c:pt idx="40">
                  <c:v>1.8171914130113622E-2</c:v>
                </c:pt>
                <c:pt idx="41">
                  <c:v>1.7390165312243324E-2</c:v>
                </c:pt>
                <c:pt idx="42">
                  <c:v>1.6937016179665105E-2</c:v>
                </c:pt>
                <c:pt idx="43">
                  <c:v>1.6934958876711093E-2</c:v>
                </c:pt>
                <c:pt idx="44">
                  <c:v>1.643182331570826E-2</c:v>
                </c:pt>
                <c:pt idx="45">
                  <c:v>1.6249116270479168E-2</c:v>
                </c:pt>
                <c:pt idx="46">
                  <c:v>1.6100757012307256E-2</c:v>
                </c:pt>
                <c:pt idx="47">
                  <c:v>1.6009081767943887E-2</c:v>
                </c:pt>
                <c:pt idx="48">
                  <c:v>1.5953816774930494E-2</c:v>
                </c:pt>
                <c:pt idx="49">
                  <c:v>1.5585382729489713E-2</c:v>
                </c:pt>
                <c:pt idx="50">
                  <c:v>1.4180001281978209E-2</c:v>
                </c:pt>
                <c:pt idx="51">
                  <c:v>1.3936408626723054E-2</c:v>
                </c:pt>
                <c:pt idx="52">
                  <c:v>1.3432574465512607E-2</c:v>
                </c:pt>
                <c:pt idx="53">
                  <c:v>1.3233352535758544E-2</c:v>
                </c:pt>
                <c:pt idx="54">
                  <c:v>1.2914498904288439E-2</c:v>
                </c:pt>
                <c:pt idx="55">
                  <c:v>1.2721252266037538E-2</c:v>
                </c:pt>
                <c:pt idx="56">
                  <c:v>1.2624780809271477E-2</c:v>
                </c:pt>
                <c:pt idx="57">
                  <c:v>1.2073308119894682E-2</c:v>
                </c:pt>
                <c:pt idx="58">
                  <c:v>1.1638888265434051E-2</c:v>
                </c:pt>
                <c:pt idx="59">
                  <c:v>1.080033109509272E-2</c:v>
                </c:pt>
                <c:pt idx="60">
                  <c:v>1.0294250113879456E-2</c:v>
                </c:pt>
                <c:pt idx="61">
                  <c:v>9.2530430090027819E-3</c:v>
                </c:pt>
                <c:pt idx="62">
                  <c:v>9.0889252194472289E-3</c:v>
                </c:pt>
                <c:pt idx="63">
                  <c:v>9.0795922566085895E-3</c:v>
                </c:pt>
                <c:pt idx="64">
                  <c:v>9.0284561188547739E-3</c:v>
                </c:pt>
                <c:pt idx="65">
                  <c:v>8.6940383565248074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ick Hydro 3 Blade Ingrown Defense Refills 6 Pack @14.97</c:v>
                </c:pt>
                <c:pt idx="1">
                  <c:v>Schick Hydro 5 Blade Advanced Hydration Refills 6 Pack @14.97</c:v>
                </c:pt>
                <c:pt idx="2">
                  <c:v>Schick Hydro 5 Blade Chrome Refills 6 Pack @14.97</c:v>
                </c:pt>
              </c:strCache>
            </c:strRef>
          </c:cat>
          <c:val>
            <c:numRef>
              <c:f>Sheet1!$B$2:$B$4</c:f>
              <c:numCache>
                <c:formatCode>General</c:formatCode>
                <c:ptCount val="3"/>
                <c:pt idx="0">
                  <c:v>112.11508364445667</c:v>
                </c:pt>
                <c:pt idx="1">
                  <c:v>111.13286788072961</c:v>
                </c:pt>
                <c:pt idx="2">
                  <c:v>117.81678212952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ick Hydro 3 Blade Ingrown Defense Refills 6 Pack @14.97</c:v>
                </c:pt>
                <c:pt idx="1">
                  <c:v>Schick Hydro 5 Blade Advanced Hydration Refills 6 Pack @14.97</c:v>
                </c:pt>
                <c:pt idx="2">
                  <c:v>Schick Hydro 5 Blade Chrome Refills 6 Pack @14.97</c:v>
                </c:pt>
              </c:strCache>
            </c:strRef>
          </c:cat>
          <c:val>
            <c:numRef>
              <c:f>Sheet1!$C$2:$C$4</c:f>
              <c:numCache>
                <c:formatCode>General</c:formatCode>
                <c:ptCount val="3"/>
                <c:pt idx="0">
                  <c:v>110.88057693543394</c:v>
                </c:pt>
                <c:pt idx="1">
                  <c:v>108.19184250730463</c:v>
                </c:pt>
                <c:pt idx="2">
                  <c:v>115.1305322884435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ick Hydro 3 Blade Ingrown Defense Refills 6 Pack @14.97</c:v>
                </c:pt>
                <c:pt idx="1">
                  <c:v>Schick Hydro 5 Blade Advanced Hydration Refills 6 Pack @14.97</c:v>
                </c:pt>
                <c:pt idx="2">
                  <c:v>Schick Hydro 5 Blade Chrome Refills 6 Pack @14.97</c:v>
                </c:pt>
              </c:strCache>
            </c:strRef>
          </c:cat>
          <c:val>
            <c:numRef>
              <c:f>Sheet1!$D$2:$D$4</c:f>
              <c:numCache>
                <c:formatCode>General</c:formatCode>
                <c:ptCount val="3"/>
                <c:pt idx="0">
                  <c:v>110.9031959137828</c:v>
                </c:pt>
                <c:pt idx="1">
                  <c:v>107.87061176126443</c:v>
                </c:pt>
                <c:pt idx="2">
                  <c:v>117.7645216410400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3 Blade Ingrown Defens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Schick Hydro 5 Blade Sensitive Refills 12 Pack</c:v>
                </c:pt>
                <c:pt idx="3">
                  <c:v>Gillette Mach 3 Blade Refills 4 Pack</c:v>
                </c:pt>
                <c:pt idx="4">
                  <c:v>Schick Hydro 3 Blade Ultra Sensitive Refills 5 Pack</c:v>
                </c:pt>
                <c:pt idx="5">
                  <c:v>Gillette Fusion 5 Proglide Blade Refills 4 Pack</c:v>
                </c:pt>
                <c:pt idx="6">
                  <c:v>Gillette Fusion 5 Blade Refills 4 Pack</c:v>
                </c:pt>
                <c:pt idx="7">
                  <c:v>Harry's Men Five Blade Refills 8 Pack</c:v>
                </c:pt>
                <c:pt idx="8">
                  <c:v>Equate Easy Fit 5 Blade Refills 4 Pack</c:v>
                </c:pt>
                <c:pt idx="9">
                  <c:v>Dollar Shave Club 6 Blades Blade Refills 4 Pack</c:v>
                </c:pt>
                <c:pt idx="10">
                  <c:v>Gillette Fusion 5 Proglide Blade Refills 8 Pack</c:v>
                </c:pt>
              </c:strCache>
            </c:strRef>
          </c:cat>
          <c:val>
            <c:numRef>
              <c:f>Sheet1!$B$2:$B$12</c:f>
              <c:numCache>
                <c:formatCode>General</c:formatCode>
                <c:ptCount val="11"/>
                <c:pt idx="0">
                  <c:v>0.32431615848201911</c:v>
                </c:pt>
                <c:pt idx="1">
                  <c:v>0.12291467979774018</c:v>
                </c:pt>
                <c:pt idx="2">
                  <c:v>6.0823911836965533E-2</c:v>
                </c:pt>
                <c:pt idx="3">
                  <c:v>6.514546904904546E-2</c:v>
                </c:pt>
                <c:pt idx="4">
                  <c:v>7.6978207685237776E-2</c:v>
                </c:pt>
                <c:pt idx="5">
                  <c:v>5.778071551454847E-2</c:v>
                </c:pt>
                <c:pt idx="6">
                  <c:v>5.5110945963287146E-2</c:v>
                </c:pt>
                <c:pt idx="7">
                  <c:v>3.9270434791258281E-2</c:v>
                </c:pt>
                <c:pt idx="8">
                  <c:v>2.9308984894671646E-2</c:v>
                </c:pt>
                <c:pt idx="9">
                  <c:v>2.800416060380952E-2</c:v>
                </c:pt>
                <c:pt idx="10">
                  <c:v>2.4375287920992129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5 Blade Advanced Hydration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Schick Hydro 5 Blade Sensitive Refills 12 Pack</c:v>
                </c:pt>
                <c:pt idx="3">
                  <c:v>Gillette Mach 3 Blade Refills 4 Pack</c:v>
                </c:pt>
                <c:pt idx="4">
                  <c:v>Schick Hydro 3 Blade Ultra Sensitive Refills 5 Pack</c:v>
                </c:pt>
                <c:pt idx="5">
                  <c:v>Gillette Fusion 5 Proglide Blade Refills 4 Pack</c:v>
                </c:pt>
                <c:pt idx="6">
                  <c:v>Gillette Fusion 5 Blade Refills 4 Pack</c:v>
                </c:pt>
                <c:pt idx="7">
                  <c:v>Harry's Men Five Blade Refills 8 Pack</c:v>
                </c:pt>
                <c:pt idx="8">
                  <c:v>Equate Easy Fit 5 Blade Refills 4 Pack</c:v>
                </c:pt>
                <c:pt idx="9">
                  <c:v>Dollar Shave Club 6 Blades Blade Refills 4 Pack</c:v>
                </c:pt>
                <c:pt idx="10">
                  <c:v>Gillette Fusion 5 Proglide Blade Refills 8 Pack</c:v>
                </c:pt>
              </c:strCache>
            </c:strRef>
          </c:cat>
          <c:val>
            <c:numRef>
              <c:f>Sheet1!$B$2:$B$12</c:f>
              <c:numCache>
                <c:formatCode>General</c:formatCode>
                <c:ptCount val="11"/>
                <c:pt idx="0">
                  <c:v>0.41880994629487939</c:v>
                </c:pt>
                <c:pt idx="1">
                  <c:v>9.3428680786976262E-2</c:v>
                </c:pt>
                <c:pt idx="2">
                  <c:v>0.1314242209258733</c:v>
                </c:pt>
                <c:pt idx="3">
                  <c:v>4.951819059428695E-2</c:v>
                </c:pt>
                <c:pt idx="4">
                  <c:v>4.0915096481926615E-2</c:v>
                </c:pt>
                <c:pt idx="5">
                  <c:v>4.3919640161666565E-2</c:v>
                </c:pt>
                <c:pt idx="6">
                  <c:v>4.1890470760813162E-2</c:v>
                </c:pt>
                <c:pt idx="7">
                  <c:v>2.9849847525478399E-2</c:v>
                </c:pt>
                <c:pt idx="8">
                  <c:v>2.2278330213554479E-2</c:v>
                </c:pt>
                <c:pt idx="9">
                  <c:v>2.1286611727140525E-2</c:v>
                </c:pt>
                <c:pt idx="10">
                  <c:v>1.8527869064069804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Blade Chrom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Schick Hydro 5 Blade Sensitive Refills 12 Pack</c:v>
                </c:pt>
                <c:pt idx="3">
                  <c:v>Gillette Mach 3 Blade Refills 4 Pack</c:v>
                </c:pt>
                <c:pt idx="4">
                  <c:v>Schick Hydro 3 Blade Ultra Sensitive Refills 5 Pack</c:v>
                </c:pt>
                <c:pt idx="5">
                  <c:v>Gillette Fusion 5 Proglide Blade Refills 4 Pack</c:v>
                </c:pt>
                <c:pt idx="6">
                  <c:v>Gillette Fusion 5 Blade Refills 4 Pack</c:v>
                </c:pt>
                <c:pt idx="7">
                  <c:v>Harry's Men Five Blade Refills 8 Pack</c:v>
                </c:pt>
                <c:pt idx="8">
                  <c:v>Equate Easy Fit 5 Blade Refills 4 Pack</c:v>
                </c:pt>
                <c:pt idx="9">
                  <c:v>Dollar Shave Club 6 Blades Blade Refills 4 Pack</c:v>
                </c:pt>
                <c:pt idx="10">
                  <c:v>Gillette Fusion 5 Proglide Blade Refills 8 Pack</c:v>
                </c:pt>
              </c:strCache>
            </c:strRef>
          </c:cat>
          <c:val>
            <c:numRef>
              <c:f>Sheet1!$B$2:$B$12</c:f>
              <c:numCache>
                <c:formatCode>General</c:formatCode>
                <c:ptCount val="11"/>
                <c:pt idx="0">
                  <c:v>0.27409963390613945</c:v>
                </c:pt>
                <c:pt idx="1">
                  <c:v>0.1339598864664254</c:v>
                </c:pt>
                <c:pt idx="2">
                  <c:v>9.1477826888753513E-2</c:v>
                </c:pt>
                <c:pt idx="3">
                  <c:v>7.0997065662221678E-2</c:v>
                </c:pt>
                <c:pt idx="4">
                  <c:v>4.8213872190261298E-2</c:v>
                </c:pt>
                <c:pt idx="5">
                  <c:v>6.2973252688130657E-2</c:v>
                </c:pt>
                <c:pt idx="6">
                  <c:v>6.0062799618792462E-2</c:v>
                </c:pt>
                <c:pt idx="7">
                  <c:v>4.2799325659459965E-2</c:v>
                </c:pt>
                <c:pt idx="8">
                  <c:v>3.1941272690536225E-2</c:v>
                </c:pt>
                <c:pt idx="9">
                  <c:v>3.0518719808687356E-2</c:v>
                </c:pt>
                <c:pt idx="10">
                  <c:v>2.6565834897728489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24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006C6D"/>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r>
                      <a:rPr lang="en-US" sz="500">
                        <a:solidFill>
                          <a:srgbClr val="006C6D"/>
                        </a:solidFill>
                      </a:rPr>
                      <a:t>Schick Xtreme 2 Sensitive Disposable Razors 2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Gillette Mach 3 1 Handle + 2 Cartridges</c:v>
                </c:pt>
                <c:pt idx="23">
                  <c:v>Schick Xtreme 2 Sensitive Disposable Razors 12 Pack</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Equate Easy Fit 5 Blade Refills 8 Pack</c:v>
                </c:pt>
                <c:pt idx="30">
                  <c:v>Gillette Sensor 2 Pivot Head Disposable Razors 12 Pack</c:v>
                </c:pt>
                <c:pt idx="31">
                  <c:v>Equate Caliber 5 Disposable Razors 3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Hydro 3 Blade Ultra Sensitive 1 Handle + 4 Cartridges</c:v>
                </c:pt>
                <c:pt idx="44">
                  <c:v>Schick Xtreme 3 Sensitive Disposable Razors 8 Pack</c:v>
                </c:pt>
                <c:pt idx="45">
                  <c:v>Gillette Fusion 5 1 Handle + 3 Cartridges Holiday Pack</c:v>
                </c:pt>
                <c:pt idx="46">
                  <c:v>Bic Flex 4 Sensitive Skin Disposable Razors 3 Pack</c:v>
                </c:pt>
                <c:pt idx="47">
                  <c:v>Gillette Sensor 3 Sensitive Disposable Razors 12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Equate Easy Fit 5 blades 1 Handle + 2 Cartridges</c:v>
                </c:pt>
                <c:pt idx="54">
                  <c:v>Bic Men Sensitive Twin Blade Disposable Razors 10 Pack</c:v>
                </c:pt>
                <c:pt idx="55">
                  <c:v>Bic Flex 5 Disposable Razors 4 Pack</c:v>
                </c:pt>
                <c:pt idx="56">
                  <c:v>Bic Comfort 3 Sensitive Skin Disposable Razors 8 Pack</c:v>
                </c:pt>
                <c:pt idx="57">
                  <c:v>Bic Flex 5 Disposable Razors 2 Pack</c:v>
                </c:pt>
                <c:pt idx="58">
                  <c:v>Schick Xtreme 2 Sensitive Disposable Razors 24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390709799092432</c:v>
                </c:pt>
                <c:pt idx="1">
                  <c:v>0.11339727035050895</c:v>
                </c:pt>
                <c:pt idx="2">
                  <c:v>0.10280989594909833</c:v>
                </c:pt>
                <c:pt idx="3">
                  <c:v>0.10254345105460907</c:v>
                </c:pt>
                <c:pt idx="4">
                  <c:v>8.8559972686373944E-2</c:v>
                </c:pt>
                <c:pt idx="5">
                  <c:v>6.6484199681567643E-2</c:v>
                </c:pt>
                <c:pt idx="6">
                  <c:v>5.4716905495759513E-2</c:v>
                </c:pt>
                <c:pt idx="7">
                  <c:v>5.3705590337448615E-2</c:v>
                </c:pt>
                <c:pt idx="8">
                  <c:v>5.3215834543462126E-2</c:v>
                </c:pt>
                <c:pt idx="9">
                  <c:v>4.8685170899839154E-2</c:v>
                </c:pt>
                <c:pt idx="10">
                  <c:v>4.42900158867666E-2</c:v>
                </c:pt>
                <c:pt idx="11">
                  <c:v>4.3628744366942529E-2</c:v>
                </c:pt>
                <c:pt idx="12">
                  <c:v>3.9334172917047681E-2</c:v>
                </c:pt>
                <c:pt idx="13">
                  <c:v>3.7956066510121275E-2</c:v>
                </c:pt>
                <c:pt idx="14">
                  <c:v>3.5819768101887181E-2</c:v>
                </c:pt>
                <c:pt idx="15">
                  <c:v>3.5012021000686282E-2</c:v>
                </c:pt>
                <c:pt idx="16">
                  <c:v>3.061243898030494E-2</c:v>
                </c:pt>
                <c:pt idx="17">
                  <c:v>2.8912308409308012E-2</c:v>
                </c:pt>
                <c:pt idx="18">
                  <c:v>2.8111848930174332E-2</c:v>
                </c:pt>
                <c:pt idx="19">
                  <c:v>2.688062488168981E-2</c:v>
                </c:pt>
                <c:pt idx="20">
                  <c:v>2.6083148338693716E-2</c:v>
                </c:pt>
                <c:pt idx="21">
                  <c:v>2.5293613696744113E-2</c:v>
                </c:pt>
                <c:pt idx="22">
                  <c:v>2.5148586765640541E-2</c:v>
                </c:pt>
                <c:pt idx="23">
                  <c:v>2.3775241624775723E-2</c:v>
                </c:pt>
                <c:pt idx="24">
                  <c:v>2.2976197237598316E-2</c:v>
                </c:pt>
                <c:pt idx="25">
                  <c:v>2.1822738621665595E-2</c:v>
                </c:pt>
                <c:pt idx="26">
                  <c:v>2.1726215126454042E-2</c:v>
                </c:pt>
                <c:pt idx="27">
                  <c:v>2.1302584647881439E-2</c:v>
                </c:pt>
                <c:pt idx="28">
                  <c:v>2.1176572120714734E-2</c:v>
                </c:pt>
                <c:pt idx="29">
                  <c:v>2.0819374279511291E-2</c:v>
                </c:pt>
                <c:pt idx="30">
                  <c:v>2.0468104244115468E-2</c:v>
                </c:pt>
                <c:pt idx="31">
                  <c:v>2.0425899519535565E-2</c:v>
                </c:pt>
                <c:pt idx="32">
                  <c:v>1.9707205740052625E-2</c:v>
                </c:pt>
                <c:pt idx="33">
                  <c:v>1.9142089105741139E-2</c:v>
                </c:pt>
                <c:pt idx="34">
                  <c:v>1.8806762189105972E-2</c:v>
                </c:pt>
                <c:pt idx="35">
                  <c:v>1.8777929572313379E-2</c:v>
                </c:pt>
                <c:pt idx="36">
                  <c:v>1.872003639432053E-2</c:v>
                </c:pt>
                <c:pt idx="37">
                  <c:v>1.84013990955645E-2</c:v>
                </c:pt>
                <c:pt idx="38">
                  <c:v>1.8152300973986148E-2</c:v>
                </c:pt>
                <c:pt idx="39">
                  <c:v>1.812810417125172E-2</c:v>
                </c:pt>
                <c:pt idx="40">
                  <c:v>1.7576552988166464E-2</c:v>
                </c:pt>
                <c:pt idx="41">
                  <c:v>1.6886133219485011E-2</c:v>
                </c:pt>
                <c:pt idx="42">
                  <c:v>1.6759821624993992E-2</c:v>
                </c:pt>
                <c:pt idx="43">
                  <c:v>1.5969136177299555E-2</c:v>
                </c:pt>
                <c:pt idx="44">
                  <c:v>1.5943921887533796E-2</c:v>
                </c:pt>
                <c:pt idx="45">
                  <c:v>1.5907886317030388E-2</c:v>
                </c:pt>
                <c:pt idx="46">
                  <c:v>1.5873597342753915E-2</c:v>
                </c:pt>
                <c:pt idx="47">
                  <c:v>1.5869779231250623E-2</c:v>
                </c:pt>
                <c:pt idx="48">
                  <c:v>1.5552168361798695E-2</c:v>
                </c:pt>
                <c:pt idx="49">
                  <c:v>1.4051160831257686E-2</c:v>
                </c:pt>
                <c:pt idx="50">
                  <c:v>1.3900832016923086E-2</c:v>
                </c:pt>
                <c:pt idx="51">
                  <c:v>1.3651975249015978E-2</c:v>
                </c:pt>
                <c:pt idx="52">
                  <c:v>1.3575019519715251E-2</c:v>
                </c:pt>
                <c:pt idx="53">
                  <c:v>1.2852142313957168E-2</c:v>
                </c:pt>
                <c:pt idx="54">
                  <c:v>1.2837865348494041E-2</c:v>
                </c:pt>
                <c:pt idx="55">
                  <c:v>1.2671483790489326E-2</c:v>
                </c:pt>
                <c:pt idx="56">
                  <c:v>1.2506289730780907E-2</c:v>
                </c:pt>
                <c:pt idx="57">
                  <c:v>1.1967296209937186E-2</c:v>
                </c:pt>
                <c:pt idx="58">
                  <c:v>1.1169639474489266E-2</c:v>
                </c:pt>
                <c:pt idx="59">
                  <c:v>1.0618008902444661E-2</c:v>
                </c:pt>
                <c:pt idx="60">
                  <c:v>9.6216155285804503E-3</c:v>
                </c:pt>
                <c:pt idx="61">
                  <c:v>9.1726544985094079E-3</c:v>
                </c:pt>
                <c:pt idx="62">
                  <c:v>9.0420444396919451E-3</c:v>
                </c:pt>
                <c:pt idx="63">
                  <c:v>8.9752910798876814E-3</c:v>
                </c:pt>
                <c:pt idx="64">
                  <c:v>8.8248352489557029E-3</c:v>
                </c:pt>
                <c:pt idx="65">
                  <c:v>8.7853462263711313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Sensitive Disposable Razors 4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006C6D"/>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r>
                      <a:rPr lang="en-US" sz="500">
                        <a:solidFill>
                          <a:srgbClr val="006C6D"/>
                        </a:solidFill>
                      </a:rPr>
                      <a:t>Schick Xtreme 5 Sensitive Disposable Razors 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2 Sensitive Disposable Razors 12 Pack</c:v>
                </c:pt>
                <c:pt idx="22">
                  <c:v>Schick Xtreme 3 Sensitive Disposable Razors 4 Pack</c:v>
                </c:pt>
                <c:pt idx="23">
                  <c:v>Gillette Mach 3 1 Handle + 2 Cartridges</c:v>
                </c:pt>
                <c:pt idx="24">
                  <c:v>Harry's 5 Blade 1 Handle + 5 Cartridges</c:v>
                </c:pt>
                <c:pt idx="25">
                  <c:v>Equate Speed 3 Disposable Razors 4 Pack</c:v>
                </c:pt>
                <c:pt idx="26">
                  <c:v>Gillette Sensor 3 Sensitive Disposable Razors 4 Pack</c:v>
                </c:pt>
                <c:pt idx="27">
                  <c:v>Bic 3 Sensitive Disposable Razors 5 Pack</c:v>
                </c:pt>
                <c:pt idx="28">
                  <c:v>Gillette Mach 3 Sensitive Skin Disposable Razors 3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Gillette Fusion 5 1 Handle + 3 Cartridges Holiday Pack</c:v>
                </c:pt>
                <c:pt idx="44">
                  <c:v>Schick Hydro 3 Blade Ultra Sensitive 1 Handle + 4 Cartridges</c:v>
                </c:pt>
                <c:pt idx="45">
                  <c:v>Bic Flex 4 Sensitive Skin Disposable Razors 3 Pack</c:v>
                </c:pt>
                <c:pt idx="46">
                  <c:v>Gillette Sensor 3 Sensitive Disposable Razors 12 Pack</c:v>
                </c:pt>
                <c:pt idx="47">
                  <c:v>Schick Xtreme 5 Sensitive Disposable Razors 4 Pack</c:v>
                </c:pt>
                <c:pt idx="48">
                  <c:v>Gillette Fusion 5 Proglide 1 Handle + 4 Cartridges</c:v>
                </c:pt>
                <c:pt idx="49">
                  <c:v>Schick Xtreme 3 Sensitive Disposable Razors 8 Pack</c:v>
                </c:pt>
                <c:pt idx="50">
                  <c:v>Gillette Sensor 3 Disposable Razors 8 Pack</c:v>
                </c:pt>
                <c:pt idx="51">
                  <c:v>Equate Caliber 3 Disposable Razors 3 Pack</c:v>
                </c:pt>
                <c:pt idx="52">
                  <c:v>Schick Hydro 5 Blade Sensitive Refills 12 Pack</c:v>
                </c:pt>
                <c:pt idx="53">
                  <c:v>Equate Easy Fit 5 Blade Refills 12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Blade Refills 15 Pack</c:v>
                </c:pt>
                <c:pt idx="64">
                  <c:v>Gillette Mach 3 Sensitive Skin Disposable Razors 6 Pack</c:v>
                </c:pt>
                <c:pt idx="65">
                  <c:v>Gillette Sensor 2 Pivot Head Disposable Razors 25 Pack</c:v>
                </c:pt>
              </c:strCache>
            </c:strRef>
          </c:cat>
          <c:val>
            <c:numRef>
              <c:f>Sheet1!$B$2:$B$67</c:f>
              <c:numCache>
                <c:formatCode>General</c:formatCode>
                <c:ptCount val="66"/>
                <c:pt idx="0">
                  <c:v>0.20436250221896654</c:v>
                </c:pt>
                <c:pt idx="1">
                  <c:v>0.11288812954498902</c:v>
                </c:pt>
                <c:pt idx="2">
                  <c:v>0.10278113381660579</c:v>
                </c:pt>
                <c:pt idx="3">
                  <c:v>0.10247023071097995</c:v>
                </c:pt>
                <c:pt idx="4">
                  <c:v>8.8620686166211465E-2</c:v>
                </c:pt>
                <c:pt idx="5">
                  <c:v>6.6528305835011251E-2</c:v>
                </c:pt>
                <c:pt idx="6">
                  <c:v>5.4881352251421746E-2</c:v>
                </c:pt>
                <c:pt idx="7">
                  <c:v>5.386869440470117E-2</c:v>
                </c:pt>
                <c:pt idx="8">
                  <c:v>5.3823106843723142E-2</c:v>
                </c:pt>
                <c:pt idx="9">
                  <c:v>4.8660565613071312E-2</c:v>
                </c:pt>
                <c:pt idx="10">
                  <c:v>4.4323004776600776E-2</c:v>
                </c:pt>
                <c:pt idx="11">
                  <c:v>4.3811875468002921E-2</c:v>
                </c:pt>
                <c:pt idx="12">
                  <c:v>3.9387375141881925E-2</c:v>
                </c:pt>
                <c:pt idx="13">
                  <c:v>3.7836296689290443E-2</c:v>
                </c:pt>
                <c:pt idx="14">
                  <c:v>3.567889318755553E-2</c:v>
                </c:pt>
                <c:pt idx="15">
                  <c:v>3.4797771019767929E-2</c:v>
                </c:pt>
                <c:pt idx="16">
                  <c:v>3.0286150115039195E-2</c:v>
                </c:pt>
                <c:pt idx="17">
                  <c:v>2.8956592459882247E-2</c:v>
                </c:pt>
                <c:pt idx="18">
                  <c:v>2.8132630696073947E-2</c:v>
                </c:pt>
                <c:pt idx="19">
                  <c:v>2.6922198445508881E-2</c:v>
                </c:pt>
                <c:pt idx="20">
                  <c:v>2.5915467411328174E-2</c:v>
                </c:pt>
                <c:pt idx="21">
                  <c:v>2.5005931577519819E-2</c:v>
                </c:pt>
                <c:pt idx="22">
                  <c:v>2.4882632260798124E-2</c:v>
                </c:pt>
                <c:pt idx="23">
                  <c:v>2.4869211227075288E-2</c:v>
                </c:pt>
                <c:pt idx="24">
                  <c:v>2.2847404179420605E-2</c:v>
                </c:pt>
                <c:pt idx="25">
                  <c:v>2.1575651236311888E-2</c:v>
                </c:pt>
                <c:pt idx="26">
                  <c:v>2.1535498059293438E-2</c:v>
                </c:pt>
                <c:pt idx="27">
                  <c:v>2.1151699737723725E-2</c:v>
                </c:pt>
                <c:pt idx="28">
                  <c:v>2.0979797049903982E-2</c:v>
                </c:pt>
                <c:pt idx="29">
                  <c:v>2.0834000411374936E-2</c:v>
                </c:pt>
                <c:pt idx="30">
                  <c:v>2.0798579736329599E-2</c:v>
                </c:pt>
                <c:pt idx="31">
                  <c:v>2.0258139332320509E-2</c:v>
                </c:pt>
                <c:pt idx="32">
                  <c:v>1.9858252278825268E-2</c:v>
                </c:pt>
                <c:pt idx="33">
                  <c:v>1.9026593344343798E-2</c:v>
                </c:pt>
                <c:pt idx="34">
                  <c:v>1.8717219559437309E-2</c:v>
                </c:pt>
                <c:pt idx="35">
                  <c:v>1.8633449943134657E-2</c:v>
                </c:pt>
                <c:pt idx="36">
                  <c:v>1.859485400310756E-2</c:v>
                </c:pt>
                <c:pt idx="37">
                  <c:v>1.824756318910524E-2</c:v>
                </c:pt>
                <c:pt idx="38">
                  <c:v>1.8002082224661584E-2</c:v>
                </c:pt>
                <c:pt idx="39">
                  <c:v>1.7901673276605863E-2</c:v>
                </c:pt>
                <c:pt idx="40">
                  <c:v>1.7581026057214955E-2</c:v>
                </c:pt>
                <c:pt idx="41">
                  <c:v>1.6700768644690438E-2</c:v>
                </c:pt>
                <c:pt idx="42">
                  <c:v>1.6356010837695709E-2</c:v>
                </c:pt>
                <c:pt idx="43">
                  <c:v>1.5763193522659358E-2</c:v>
                </c:pt>
                <c:pt idx="44">
                  <c:v>1.5696539313958993E-2</c:v>
                </c:pt>
                <c:pt idx="45">
                  <c:v>1.5689001396178143E-2</c:v>
                </c:pt>
                <c:pt idx="46">
                  <c:v>1.5661053295925733E-2</c:v>
                </c:pt>
                <c:pt idx="47">
                  <c:v>1.5528492126501155E-2</c:v>
                </c:pt>
                <c:pt idx="48">
                  <c:v>1.5431784490739472E-2</c:v>
                </c:pt>
                <c:pt idx="49">
                  <c:v>1.5329874176046563E-2</c:v>
                </c:pt>
                <c:pt idx="50">
                  <c:v>1.3877746932141709E-2</c:v>
                </c:pt>
                <c:pt idx="51">
                  <c:v>1.3838487422968686E-2</c:v>
                </c:pt>
                <c:pt idx="52">
                  <c:v>1.3586329904848139E-2</c:v>
                </c:pt>
                <c:pt idx="53">
                  <c:v>1.35560505225469E-2</c:v>
                </c:pt>
                <c:pt idx="54">
                  <c:v>1.3073914541172019E-2</c:v>
                </c:pt>
                <c:pt idx="55">
                  <c:v>1.2739857015300922E-2</c:v>
                </c:pt>
                <c:pt idx="56">
                  <c:v>1.2484785877968181E-2</c:v>
                </c:pt>
                <c:pt idx="57">
                  <c:v>1.23870343809993E-2</c:v>
                </c:pt>
                <c:pt idx="58">
                  <c:v>1.1782545497974367E-2</c:v>
                </c:pt>
                <c:pt idx="59">
                  <c:v>1.0495553145990561E-2</c:v>
                </c:pt>
                <c:pt idx="60">
                  <c:v>9.4409963118668536E-3</c:v>
                </c:pt>
                <c:pt idx="61">
                  <c:v>9.1717352130280868E-3</c:v>
                </c:pt>
                <c:pt idx="62">
                  <c:v>8.9125726264229592E-3</c:v>
                </c:pt>
                <c:pt idx="63">
                  <c:v>8.7580981079007098E-3</c:v>
                </c:pt>
                <c:pt idx="64">
                  <c:v>8.7539619335260162E-3</c:v>
                </c:pt>
                <c:pt idx="65">
                  <c:v>8.74939125982724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Sensitive Disposable Razors 8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7ECAC4"/>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7ECAC4"/>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spPr>
              <a:solidFill>
                <a:srgbClr val="7ECAC4"/>
              </a:solidFill>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7ECAC4"/>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006C6D"/>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7ECAC4"/>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r>
                      <a:rPr lang="en-US" sz="500">
                        <a:solidFill>
                          <a:srgbClr val="006C6D"/>
                        </a:solidFill>
                      </a:rPr>
                      <a:t>Schick Xtreme 5 Sensitive Disposable Razors 8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Equate Speed 3 Disposable Razors 8 Pack</c:v>
                </c:pt>
                <c:pt idx="35">
                  <c:v>Bic Comfort 3 Sensitive Skin Disposable Razors 4 Pack</c:v>
                </c:pt>
                <c:pt idx="36">
                  <c:v>Gillette Sensor 3 Disposable Razors 12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Bic Flex 4 Sensitive Skin Disposable Razors 3 Pack</c:v>
                </c:pt>
                <c:pt idx="44">
                  <c:v>Schick Hydro 3 Blade Ultra Sensitive 1 Handle + 4 Cartridges</c:v>
                </c:pt>
                <c:pt idx="45">
                  <c:v>Gillette Fusion 5 1 Handle + 3 Cartridges Holiday Pack</c:v>
                </c:pt>
                <c:pt idx="46">
                  <c:v>Gillette Sensor 3 Sensitive Disposable Razors 12 Pack</c:v>
                </c:pt>
                <c:pt idx="47">
                  <c:v>Schick Xtreme 3 Sensitive Disposable Razors 8 Pack</c:v>
                </c:pt>
                <c:pt idx="48">
                  <c:v>Gillette Fusion 5 Proglide 1 Handle + 4 Cartridges</c:v>
                </c:pt>
                <c:pt idx="49">
                  <c:v>Gillette Sensor 3 Disposable Razors 8 Pack</c:v>
                </c:pt>
                <c:pt idx="50">
                  <c:v>Equate Caliber 3 Disposable Razors 3 Pack</c:v>
                </c:pt>
                <c:pt idx="51">
                  <c:v>Schick Hydro 5 Blade Sensitive Refills 12 Pack</c:v>
                </c:pt>
                <c:pt idx="52">
                  <c:v>Schick Xtreme 5 Sensitive Disposable Razors 8 Pack</c:v>
                </c:pt>
                <c:pt idx="53">
                  <c:v>Equate Easy Fit 5 Blade Refills 12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Mach 3 Blade Refills 15 Pack</c:v>
                </c:pt>
                <c:pt idx="65">
                  <c:v>Gillette Sensor 2 Pivot Head Disposable Razors 25 Pack</c:v>
                </c:pt>
              </c:strCache>
            </c:strRef>
          </c:cat>
          <c:val>
            <c:numRef>
              <c:f>Sheet1!$B$2:$B$67</c:f>
              <c:numCache>
                <c:formatCode>General</c:formatCode>
                <c:ptCount val="66"/>
                <c:pt idx="0">
                  <c:v>0.20433350474554265</c:v>
                </c:pt>
                <c:pt idx="1">
                  <c:v>0.11313022007040646</c:v>
                </c:pt>
                <c:pt idx="2">
                  <c:v>0.10263687996750157</c:v>
                </c:pt>
                <c:pt idx="3">
                  <c:v>0.10253232757020268</c:v>
                </c:pt>
                <c:pt idx="4">
                  <c:v>8.8526659734071853E-2</c:v>
                </c:pt>
                <c:pt idx="5">
                  <c:v>6.659238780818752E-2</c:v>
                </c:pt>
                <c:pt idx="6">
                  <c:v>5.4853334236314416E-2</c:v>
                </c:pt>
                <c:pt idx="7">
                  <c:v>5.385718150474228E-2</c:v>
                </c:pt>
                <c:pt idx="8">
                  <c:v>5.3843456040171343E-2</c:v>
                </c:pt>
                <c:pt idx="9">
                  <c:v>4.8632398502716799E-2</c:v>
                </c:pt>
                <c:pt idx="10">
                  <c:v>4.4378054715880633E-2</c:v>
                </c:pt>
                <c:pt idx="11">
                  <c:v>4.3777491485180967E-2</c:v>
                </c:pt>
                <c:pt idx="12">
                  <c:v>3.9300925705656305E-2</c:v>
                </c:pt>
                <c:pt idx="13">
                  <c:v>3.7921493065086839E-2</c:v>
                </c:pt>
                <c:pt idx="14">
                  <c:v>3.5679962993990691E-2</c:v>
                </c:pt>
                <c:pt idx="15">
                  <c:v>3.4927943732852573E-2</c:v>
                </c:pt>
                <c:pt idx="16">
                  <c:v>3.0504263598287926E-2</c:v>
                </c:pt>
                <c:pt idx="17">
                  <c:v>2.896600999016969E-2</c:v>
                </c:pt>
                <c:pt idx="18">
                  <c:v>2.807002717507066E-2</c:v>
                </c:pt>
                <c:pt idx="19">
                  <c:v>2.6866212857383533E-2</c:v>
                </c:pt>
                <c:pt idx="20">
                  <c:v>2.5944797011862922E-2</c:v>
                </c:pt>
                <c:pt idx="21">
                  <c:v>2.5192550316508334E-2</c:v>
                </c:pt>
                <c:pt idx="22">
                  <c:v>2.5009000319574738E-2</c:v>
                </c:pt>
                <c:pt idx="23">
                  <c:v>2.4972305282682596E-2</c:v>
                </c:pt>
                <c:pt idx="24">
                  <c:v>2.2929056065554523E-2</c:v>
                </c:pt>
                <c:pt idx="25">
                  <c:v>2.1744530095228341E-2</c:v>
                </c:pt>
                <c:pt idx="26">
                  <c:v>2.1666635259982789E-2</c:v>
                </c:pt>
                <c:pt idx="27">
                  <c:v>2.118419194227544E-2</c:v>
                </c:pt>
                <c:pt idx="28">
                  <c:v>2.1180644157538359E-2</c:v>
                </c:pt>
                <c:pt idx="29">
                  <c:v>2.0811846666678055E-2</c:v>
                </c:pt>
                <c:pt idx="30">
                  <c:v>2.0769374353055141E-2</c:v>
                </c:pt>
                <c:pt idx="31">
                  <c:v>2.0318475274920034E-2</c:v>
                </c:pt>
                <c:pt idx="32">
                  <c:v>1.9841807144580184E-2</c:v>
                </c:pt>
                <c:pt idx="33">
                  <c:v>1.9114069042888364E-2</c:v>
                </c:pt>
                <c:pt idx="34">
                  <c:v>1.8781157081248518E-2</c:v>
                </c:pt>
                <c:pt idx="35">
                  <c:v>1.8640974130908514E-2</c:v>
                </c:pt>
                <c:pt idx="36">
                  <c:v>1.8533524474403065E-2</c:v>
                </c:pt>
                <c:pt idx="37">
                  <c:v>1.8158411714632079E-2</c:v>
                </c:pt>
                <c:pt idx="38">
                  <c:v>1.8016547928041911E-2</c:v>
                </c:pt>
                <c:pt idx="39">
                  <c:v>1.7908052269955017E-2</c:v>
                </c:pt>
                <c:pt idx="40">
                  <c:v>1.7598829374186407E-2</c:v>
                </c:pt>
                <c:pt idx="41">
                  <c:v>1.6653009699097089E-2</c:v>
                </c:pt>
                <c:pt idx="42">
                  <c:v>1.6498141573093809E-2</c:v>
                </c:pt>
                <c:pt idx="43">
                  <c:v>1.5828596701955744E-2</c:v>
                </c:pt>
                <c:pt idx="44">
                  <c:v>1.5807891675297548E-2</c:v>
                </c:pt>
                <c:pt idx="45">
                  <c:v>1.577731771357813E-2</c:v>
                </c:pt>
                <c:pt idx="46">
                  <c:v>1.5703201279268799E-2</c:v>
                </c:pt>
                <c:pt idx="47">
                  <c:v>1.5485719785118169E-2</c:v>
                </c:pt>
                <c:pt idx="48">
                  <c:v>1.5376349304601345E-2</c:v>
                </c:pt>
                <c:pt idx="49">
                  <c:v>1.3920998757496215E-2</c:v>
                </c:pt>
                <c:pt idx="50">
                  <c:v>1.387027440349407E-2</c:v>
                </c:pt>
                <c:pt idx="51">
                  <c:v>1.3625938935545603E-2</c:v>
                </c:pt>
                <c:pt idx="52">
                  <c:v>1.3589483117935496E-2</c:v>
                </c:pt>
                <c:pt idx="53">
                  <c:v>1.3529018350195115E-2</c:v>
                </c:pt>
                <c:pt idx="54">
                  <c:v>1.3055420940938426E-2</c:v>
                </c:pt>
                <c:pt idx="55">
                  <c:v>1.274328407619359E-2</c:v>
                </c:pt>
                <c:pt idx="56">
                  <c:v>1.2520722803635309E-2</c:v>
                </c:pt>
                <c:pt idx="57">
                  <c:v>1.2515636201839968E-2</c:v>
                </c:pt>
                <c:pt idx="58">
                  <c:v>1.1911558459829807E-2</c:v>
                </c:pt>
                <c:pt idx="59">
                  <c:v>1.0320965663210488E-2</c:v>
                </c:pt>
                <c:pt idx="60">
                  <c:v>9.3478405693739833E-3</c:v>
                </c:pt>
                <c:pt idx="61">
                  <c:v>9.1859128367442651E-3</c:v>
                </c:pt>
                <c:pt idx="62">
                  <c:v>8.970038609510473E-3</c:v>
                </c:pt>
                <c:pt idx="63">
                  <c:v>8.8762957832574235E-3</c:v>
                </c:pt>
                <c:pt idx="64">
                  <c:v>8.7517884043217028E-3</c:v>
                </c:pt>
                <c:pt idx="65">
                  <c:v>8.4870789483447659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Refills 4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006C6D"/>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7ECAC4"/>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7ECAC4"/>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r>
                      <a:rPr lang="en-US" sz="500">
                        <a:solidFill>
                          <a:srgbClr val="006C6D"/>
                        </a:solidFill>
                      </a:rPr>
                      <a:t>Schick Hydro 5 Blade Sensitive Refills 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Gillette Fusion 5 Blade Refills 12 Pack</c:v>
                </c:pt>
                <c:pt idx="18">
                  <c:v>Schick Hydro 5 Blade Sensitive Refills 4 Pack</c:v>
                </c:pt>
                <c:pt idx="19">
                  <c:v>Gillette Fusion 5 Proglide Blade Refills 12 Pack</c:v>
                </c:pt>
                <c:pt idx="20">
                  <c:v>Gillette Fusion 5 1 Handle + 2 Cartridges</c:v>
                </c:pt>
                <c:pt idx="21">
                  <c:v>Schick Xtreme 3 Sensitive Disposable Razors 4 Pack</c:v>
                </c:pt>
                <c:pt idx="22">
                  <c:v>Schick Hydro 5 Blade Sensitive Refills 6 Pack</c:v>
                </c:pt>
                <c:pt idx="23">
                  <c:v>Schick Xtreme 2 Sensitive Disposable Razors 12 Pack</c:v>
                </c:pt>
                <c:pt idx="24">
                  <c:v>Gillette Mach 3 1 Handle + 2 Cartridges</c:v>
                </c:pt>
                <c:pt idx="25">
                  <c:v>Harry's 5 Blade 1 Handle + 5 Cartridges</c:v>
                </c:pt>
                <c:pt idx="26">
                  <c:v>Gillette Sensor 3 Sensitive Disposable Razors 4 Pack</c:v>
                </c:pt>
                <c:pt idx="27">
                  <c:v>Equate Speed 3 Disposable Razors 4 Pack</c:v>
                </c:pt>
                <c:pt idx="28">
                  <c:v>Gillette Mach 3 Sensitive Skin Disposable Razors 3 Pack</c:v>
                </c:pt>
                <c:pt idx="29">
                  <c:v>Bic 3 Sensitive Disposable Razors 5 Pack</c:v>
                </c:pt>
                <c:pt idx="30">
                  <c:v>Gillette Sensor 2 Pivot Head Disposable Razors 12 Pack</c:v>
                </c:pt>
                <c:pt idx="31">
                  <c:v>Equate Caliber 5 Disposable Razors 3 Pack</c:v>
                </c:pt>
                <c:pt idx="32">
                  <c:v>Equate Easy Fit 5 Blade Refills 8 Pack</c:v>
                </c:pt>
                <c:pt idx="33">
                  <c:v>Gillette Sensor 2 Plus Disposable Razors 10 Pack</c:v>
                </c:pt>
                <c:pt idx="34">
                  <c:v>Dollar Shave Club 6 1 Handle + 2 Blades</c:v>
                </c:pt>
                <c:pt idx="35">
                  <c:v>Gillette Sensor 3 Disposable Razors 12 Pack</c:v>
                </c:pt>
                <c:pt idx="36">
                  <c:v>Equate Speed 3 Disposable Razors 8 Pack</c:v>
                </c:pt>
                <c:pt idx="37">
                  <c:v>Bic Comfort 3 Sensitive Skin Disposable Razors 4 Pack</c:v>
                </c:pt>
                <c:pt idx="38">
                  <c:v>Gillette Fusion 5 1 Handle + 5 Cartridges</c:v>
                </c:pt>
                <c:pt idx="39">
                  <c:v>Gillette Sensor 3 Sensitive Disposable Razors 8 Pack</c:v>
                </c:pt>
                <c:pt idx="40">
                  <c:v>Gillette Fusion 5 1 Handle + 7 Cartridges</c:v>
                </c:pt>
                <c:pt idx="41">
                  <c:v>Dollar Shave Club 6 Blades Blade Refills 8 Pack</c:v>
                </c:pt>
                <c:pt idx="42">
                  <c:v>Schick Hydro 5 Blade Sensitive 1 Handle + 3 Cartridges</c:v>
                </c:pt>
                <c:pt idx="43">
                  <c:v>Gillette Mach 3 1 Handle + 6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Schick Hydro 5 Blade Sensitive Refills 12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029736085083452</c:v>
                </c:pt>
                <c:pt idx="1">
                  <c:v>0.11381600361434044</c:v>
                </c:pt>
                <c:pt idx="2">
                  <c:v>0.10103583225772547</c:v>
                </c:pt>
                <c:pt idx="3">
                  <c:v>0.10084314021256113</c:v>
                </c:pt>
                <c:pt idx="4">
                  <c:v>8.7006978228424375E-2</c:v>
                </c:pt>
                <c:pt idx="5">
                  <c:v>6.53217417462338E-2</c:v>
                </c:pt>
                <c:pt idx="6">
                  <c:v>5.522062888107987E-2</c:v>
                </c:pt>
                <c:pt idx="7">
                  <c:v>5.4106514678785786E-2</c:v>
                </c:pt>
                <c:pt idx="8">
                  <c:v>5.4049537141191289E-2</c:v>
                </c:pt>
                <c:pt idx="9">
                  <c:v>4.7874261265433052E-2</c:v>
                </c:pt>
                <c:pt idx="10">
                  <c:v>4.3547696955758934E-2</c:v>
                </c:pt>
                <c:pt idx="11">
                  <c:v>4.2947534296508154E-2</c:v>
                </c:pt>
                <c:pt idx="12">
                  <c:v>3.8644522291570012E-2</c:v>
                </c:pt>
                <c:pt idx="13">
                  <c:v>3.7989754072031312E-2</c:v>
                </c:pt>
                <c:pt idx="14">
                  <c:v>3.5232671526601492E-2</c:v>
                </c:pt>
                <c:pt idx="15">
                  <c:v>2.882859245411884E-2</c:v>
                </c:pt>
                <c:pt idx="16">
                  <c:v>2.8402482656265691E-2</c:v>
                </c:pt>
                <c:pt idx="17">
                  <c:v>2.7620040302012344E-2</c:v>
                </c:pt>
                <c:pt idx="18">
                  <c:v>2.7357785125905896E-2</c:v>
                </c:pt>
                <c:pt idx="19">
                  <c:v>2.6407637851114128E-2</c:v>
                </c:pt>
                <c:pt idx="20">
                  <c:v>2.6167244487973765E-2</c:v>
                </c:pt>
                <c:pt idx="21">
                  <c:v>2.599890398591094E-2</c:v>
                </c:pt>
                <c:pt idx="22">
                  <c:v>2.5937452167729885E-2</c:v>
                </c:pt>
                <c:pt idx="23">
                  <c:v>2.5597887506138142E-2</c:v>
                </c:pt>
                <c:pt idx="24">
                  <c:v>2.5277729629238299E-2</c:v>
                </c:pt>
                <c:pt idx="25">
                  <c:v>2.3014238195746925E-2</c:v>
                </c:pt>
                <c:pt idx="26">
                  <c:v>2.200852703453577E-2</c:v>
                </c:pt>
                <c:pt idx="27">
                  <c:v>2.1833909147045621E-2</c:v>
                </c:pt>
                <c:pt idx="28">
                  <c:v>2.1435531568050267E-2</c:v>
                </c:pt>
                <c:pt idx="29">
                  <c:v>2.1305572199156183E-2</c:v>
                </c:pt>
                <c:pt idx="30">
                  <c:v>2.1091316480521656E-2</c:v>
                </c:pt>
                <c:pt idx="31">
                  <c:v>2.0503930301424833E-2</c:v>
                </c:pt>
                <c:pt idx="32">
                  <c:v>2.0464998140890159E-2</c:v>
                </c:pt>
                <c:pt idx="33">
                  <c:v>2.0081002689506865E-2</c:v>
                </c:pt>
                <c:pt idx="34">
                  <c:v>1.9191092247805762E-2</c:v>
                </c:pt>
                <c:pt idx="35">
                  <c:v>1.9153878549908892E-2</c:v>
                </c:pt>
                <c:pt idx="36">
                  <c:v>1.8931020722248098E-2</c:v>
                </c:pt>
                <c:pt idx="37">
                  <c:v>1.8795764473460205E-2</c:v>
                </c:pt>
                <c:pt idx="38">
                  <c:v>1.8448768644596499E-2</c:v>
                </c:pt>
                <c:pt idx="39">
                  <c:v>1.8374644866140499E-2</c:v>
                </c:pt>
                <c:pt idx="40">
                  <c:v>1.8171885914178763E-2</c:v>
                </c:pt>
                <c:pt idx="41">
                  <c:v>1.7276151895729879E-2</c:v>
                </c:pt>
                <c:pt idx="42">
                  <c:v>1.6938167473653981E-2</c:v>
                </c:pt>
                <c:pt idx="43">
                  <c:v>1.6936924368398717E-2</c:v>
                </c:pt>
                <c:pt idx="44">
                  <c:v>1.643146948443865E-2</c:v>
                </c:pt>
                <c:pt idx="45">
                  <c:v>1.6249044118542527E-2</c:v>
                </c:pt>
                <c:pt idx="46">
                  <c:v>1.6104184116666306E-2</c:v>
                </c:pt>
                <c:pt idx="47">
                  <c:v>1.6008831135195356E-2</c:v>
                </c:pt>
                <c:pt idx="48">
                  <c:v>1.5953752162142291E-2</c:v>
                </c:pt>
                <c:pt idx="49">
                  <c:v>1.5585336955491831E-2</c:v>
                </c:pt>
                <c:pt idx="50">
                  <c:v>1.4179920959166504E-2</c:v>
                </c:pt>
                <c:pt idx="51">
                  <c:v>1.3936292766614235E-2</c:v>
                </c:pt>
                <c:pt idx="52">
                  <c:v>1.334454390726878E-2</c:v>
                </c:pt>
                <c:pt idx="53">
                  <c:v>1.3233299218931632E-2</c:v>
                </c:pt>
                <c:pt idx="54">
                  <c:v>1.2971521890448237E-2</c:v>
                </c:pt>
                <c:pt idx="55">
                  <c:v>1.2914344731355517E-2</c:v>
                </c:pt>
                <c:pt idx="56">
                  <c:v>1.2721126291234374E-2</c:v>
                </c:pt>
                <c:pt idx="57">
                  <c:v>1.262470414964072E-2</c:v>
                </c:pt>
                <c:pt idx="58">
                  <c:v>1.2073179704858734E-2</c:v>
                </c:pt>
                <c:pt idx="59">
                  <c:v>1.08002658734992E-2</c:v>
                </c:pt>
                <c:pt idx="60">
                  <c:v>1.029411740692894E-2</c:v>
                </c:pt>
                <c:pt idx="61">
                  <c:v>9.2530053394519456E-3</c:v>
                </c:pt>
                <c:pt idx="62">
                  <c:v>9.088815653903768E-3</c:v>
                </c:pt>
                <c:pt idx="63">
                  <c:v>9.0795312289815543E-3</c:v>
                </c:pt>
                <c:pt idx="64">
                  <c:v>9.0283998298866311E-3</c:v>
                </c:pt>
                <c:pt idx="65">
                  <c:v>8.6370539768654536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Body &amp; Groin Disposable Razors 3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006C6D"/>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r>
                      <a:rPr lang="en-US" sz="500">
                        <a:solidFill>
                          <a:srgbClr val="006C6D"/>
                        </a:solidFill>
                      </a:rPr>
                      <a:t>Schick Xtreme 3 Body &amp; Groin Disposable Razor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2 Sensitive Disposable Razors 12 Pack</c:v>
                </c:pt>
                <c:pt idx="22">
                  <c:v>Schick Xtreme 3 Sensitive Disposable Razors 4 Pack</c:v>
                </c:pt>
                <c:pt idx="23">
                  <c:v>Gillette Mach 3 1 Handle + 2 Cartridges</c:v>
                </c:pt>
                <c:pt idx="24">
                  <c:v>Harry's 5 Blade 1 Handle + 5 Cartridges</c:v>
                </c:pt>
                <c:pt idx="25">
                  <c:v>Gillette Sensor 3 Sensitive Disposable Razors 4 Pack</c:v>
                </c:pt>
                <c:pt idx="26">
                  <c:v>Equate Speed 3 Disposable Razors 4 Pack</c:v>
                </c:pt>
                <c:pt idx="27">
                  <c:v>Bic 3 Sensitive Disposable Razors 5 Pack</c:v>
                </c:pt>
                <c:pt idx="28">
                  <c:v>Gillette Mach 3 Sensitive Skin Disposable Razors 3 Pack</c:v>
                </c:pt>
                <c:pt idx="29">
                  <c:v>Equate Easy Fit 5 Blade Refills 8 Pack</c:v>
                </c:pt>
                <c:pt idx="30">
                  <c:v>Gillette Sensor 2 Pivot Head Disposable Razors 12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Gillette Sensor 3 Sensitive Disposable Razors 12 Pack</c:v>
                </c:pt>
                <c:pt idx="44">
                  <c:v>Gillette Fusion 5 1 Handle + 3 Cartridges Holiday Pack</c:v>
                </c:pt>
                <c:pt idx="45">
                  <c:v>Schick Xtreme 3 Sensitive Disposable Razors 8 Pack</c:v>
                </c:pt>
                <c:pt idx="46">
                  <c:v>Bic Flex 4 Sensitive Skin Disposable Razors 3 Pack</c:v>
                </c:pt>
                <c:pt idx="47">
                  <c:v>Schick Hydro 3 Blade Ultra Sensitive 1 Handle + 4 Cartridges</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Schick Xtreme 3 Body &amp; Groin Disposable Razors 3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41348615575686</c:v>
                </c:pt>
                <c:pt idx="1">
                  <c:v>0.11332398216668535</c:v>
                </c:pt>
                <c:pt idx="2">
                  <c:v>0.10293938597158361</c:v>
                </c:pt>
                <c:pt idx="3">
                  <c:v>0.10241751892992806</c:v>
                </c:pt>
                <c:pt idx="4">
                  <c:v>8.8665010390822918E-2</c:v>
                </c:pt>
                <c:pt idx="5">
                  <c:v>6.6588542366551526E-2</c:v>
                </c:pt>
                <c:pt idx="6">
                  <c:v>5.4911002801290229E-2</c:v>
                </c:pt>
                <c:pt idx="7">
                  <c:v>5.3852599495839579E-2</c:v>
                </c:pt>
                <c:pt idx="8">
                  <c:v>5.3758085641593983E-2</c:v>
                </c:pt>
                <c:pt idx="9">
                  <c:v>4.8726449714822338E-2</c:v>
                </c:pt>
                <c:pt idx="10">
                  <c:v>4.4240602536990185E-2</c:v>
                </c:pt>
                <c:pt idx="11">
                  <c:v>4.3770343360944722E-2</c:v>
                </c:pt>
                <c:pt idx="12">
                  <c:v>3.9392491020793667E-2</c:v>
                </c:pt>
                <c:pt idx="13">
                  <c:v>3.7906229964224526E-2</c:v>
                </c:pt>
                <c:pt idx="14">
                  <c:v>3.5712534882156186E-2</c:v>
                </c:pt>
                <c:pt idx="15">
                  <c:v>3.4598319852490546E-2</c:v>
                </c:pt>
                <c:pt idx="16">
                  <c:v>3.0411436559857043E-2</c:v>
                </c:pt>
                <c:pt idx="17">
                  <c:v>2.8958190959234943E-2</c:v>
                </c:pt>
                <c:pt idx="18">
                  <c:v>2.8161419587106766E-2</c:v>
                </c:pt>
                <c:pt idx="19">
                  <c:v>2.6926946017639349E-2</c:v>
                </c:pt>
                <c:pt idx="20">
                  <c:v>2.6060646066476571E-2</c:v>
                </c:pt>
                <c:pt idx="21">
                  <c:v>2.5022858783267297E-2</c:v>
                </c:pt>
                <c:pt idx="22">
                  <c:v>2.5015098836676831E-2</c:v>
                </c:pt>
                <c:pt idx="23">
                  <c:v>2.4920983858052765E-2</c:v>
                </c:pt>
                <c:pt idx="24">
                  <c:v>2.2943432086555655E-2</c:v>
                </c:pt>
                <c:pt idx="25">
                  <c:v>2.1676095820566357E-2</c:v>
                </c:pt>
                <c:pt idx="26">
                  <c:v>2.1579707011822269E-2</c:v>
                </c:pt>
                <c:pt idx="27">
                  <c:v>2.1106231913866826E-2</c:v>
                </c:pt>
                <c:pt idx="28">
                  <c:v>2.104489654008607E-2</c:v>
                </c:pt>
                <c:pt idx="29">
                  <c:v>2.0828777087772494E-2</c:v>
                </c:pt>
                <c:pt idx="30">
                  <c:v>2.080427205563477E-2</c:v>
                </c:pt>
                <c:pt idx="31">
                  <c:v>2.0348512958538126E-2</c:v>
                </c:pt>
                <c:pt idx="32">
                  <c:v>1.9757741850686763E-2</c:v>
                </c:pt>
                <c:pt idx="33">
                  <c:v>1.9038011456236563E-2</c:v>
                </c:pt>
                <c:pt idx="34">
                  <c:v>1.8839339941725989E-2</c:v>
                </c:pt>
                <c:pt idx="35">
                  <c:v>1.8779070762345279E-2</c:v>
                </c:pt>
                <c:pt idx="36">
                  <c:v>1.8540884731914085E-2</c:v>
                </c:pt>
                <c:pt idx="37">
                  <c:v>1.839561837079591E-2</c:v>
                </c:pt>
                <c:pt idx="38">
                  <c:v>1.8135288030430359E-2</c:v>
                </c:pt>
                <c:pt idx="39">
                  <c:v>1.8116511856029738E-2</c:v>
                </c:pt>
                <c:pt idx="40">
                  <c:v>1.7567219934571505E-2</c:v>
                </c:pt>
                <c:pt idx="41">
                  <c:v>1.6798577361622612E-2</c:v>
                </c:pt>
                <c:pt idx="42">
                  <c:v>1.6510280903703132E-2</c:v>
                </c:pt>
                <c:pt idx="43">
                  <c:v>1.6010485558482109E-2</c:v>
                </c:pt>
                <c:pt idx="44">
                  <c:v>1.5896935305672922E-2</c:v>
                </c:pt>
                <c:pt idx="45">
                  <c:v>1.5714387114502147E-2</c:v>
                </c:pt>
                <c:pt idx="46">
                  <c:v>1.570133570391935E-2</c:v>
                </c:pt>
                <c:pt idx="47">
                  <c:v>1.5698214662423892E-2</c:v>
                </c:pt>
                <c:pt idx="48">
                  <c:v>1.550182893930257E-2</c:v>
                </c:pt>
                <c:pt idx="49">
                  <c:v>1.3978362193781639E-2</c:v>
                </c:pt>
                <c:pt idx="50">
                  <c:v>1.3832661249536513E-2</c:v>
                </c:pt>
                <c:pt idx="51">
                  <c:v>1.3614938529466101E-2</c:v>
                </c:pt>
                <c:pt idx="52">
                  <c:v>1.3582909757415166E-2</c:v>
                </c:pt>
                <c:pt idx="53">
                  <c:v>1.3108747830107211E-2</c:v>
                </c:pt>
                <c:pt idx="54">
                  <c:v>1.2799694959572536E-2</c:v>
                </c:pt>
                <c:pt idx="55">
                  <c:v>1.2586280538493644E-2</c:v>
                </c:pt>
                <c:pt idx="56">
                  <c:v>1.2476377190447295E-2</c:v>
                </c:pt>
                <c:pt idx="57">
                  <c:v>1.1925967502931543E-2</c:v>
                </c:pt>
                <c:pt idx="58">
                  <c:v>1.0985556350297276E-2</c:v>
                </c:pt>
                <c:pt idx="59">
                  <c:v>1.0623867780954041E-2</c:v>
                </c:pt>
                <c:pt idx="60">
                  <c:v>9.9804639618943473E-3</c:v>
                </c:pt>
                <c:pt idx="61">
                  <c:v>9.205194496710525E-3</c:v>
                </c:pt>
                <c:pt idx="62">
                  <c:v>8.9794217838423136E-3</c:v>
                </c:pt>
                <c:pt idx="63">
                  <c:v>8.9344987566922062E-3</c:v>
                </c:pt>
                <c:pt idx="64">
                  <c:v>8.8737568537680302E-3</c:v>
                </c:pt>
                <c:pt idx="65">
                  <c:v>8.7621009822843841E-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Ultimate Comfort Disposable Razors 3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7ECAC4"/>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7ECAC4"/>
              </a:solidFill>
            </c:spPr>
            <c:extLst>
              <c:ext xmlns:c16="http://schemas.microsoft.com/office/drawing/2014/chart" uri="{C3380CC4-5D6E-409C-BE32-E72D297353CC}">
                <c16:uniqueId val="{00000011-83E0-4716-877A-8084D4846F88}"/>
              </c:ext>
            </c:extLst>
          </c:dPt>
          <c:dPt>
            <c:idx val="9"/>
            <c:invertIfNegative val="1"/>
            <c:bubble3D val="0"/>
            <c:spPr>
              <a:solidFill>
                <a:srgbClr val="7ECAC4"/>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7ECAC4"/>
              </a:solidFill>
            </c:spPr>
            <c:extLst>
              <c:ext xmlns:c16="http://schemas.microsoft.com/office/drawing/2014/chart" uri="{C3380CC4-5D6E-409C-BE32-E72D297353CC}">
                <c16:uniqueId val="{0000001F-83E0-4716-877A-8084D4846F88}"/>
              </c:ext>
            </c:extLst>
          </c:dPt>
          <c:dPt>
            <c:idx val="16"/>
            <c:invertIfNegative val="1"/>
            <c:bubble3D val="0"/>
            <c:spPr>
              <a:solidFill>
                <a:srgbClr val="7ECAC4"/>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7ECAC4"/>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7ECAC4"/>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7ECAC4"/>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7ECAC4"/>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7ECAC4"/>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7ECAC4"/>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7ECAC4"/>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7ECAC4"/>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7ECAC4"/>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spPr>
              <a:solidFill>
                <a:srgbClr val="006C6D"/>
              </a:solidFill>
            </c:spPr>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7ECAC4"/>
              </a:solidFill>
            </c:spPr>
            <c:extLst>
              <c:ext xmlns:c16="http://schemas.microsoft.com/office/drawing/2014/chart" uri="{C3380CC4-5D6E-409C-BE32-E72D297353CC}">
                <c16:uniqueId val="{00000067-83E0-4716-877A-8084D4846F88}"/>
              </c:ext>
            </c:extLst>
          </c:dPt>
          <c:dPt>
            <c:idx val="52"/>
            <c:invertIfNegative val="1"/>
            <c:bubble3D val="0"/>
            <c:spPr>
              <a:solidFill>
                <a:srgbClr val="7ECAC4"/>
              </a:solidFill>
            </c:spPr>
            <c:extLst>
              <c:ext xmlns:c16="http://schemas.microsoft.com/office/drawing/2014/chart" uri="{C3380CC4-5D6E-409C-BE32-E72D297353CC}">
                <c16:uniqueId val="{00000069-83E0-4716-877A-8084D4846F88}"/>
              </c:ext>
            </c:extLst>
          </c:dPt>
          <c:dPt>
            <c:idx val="53"/>
            <c:invertIfNegative val="1"/>
            <c:bubble3D val="0"/>
            <c:spPr>
              <a:solidFill>
                <a:srgbClr val="7ECAC4"/>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7ECAC4"/>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7ECAC4"/>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r>
                      <a:rPr lang="en-US" sz="500">
                        <a:solidFill>
                          <a:srgbClr val="006C6D"/>
                        </a:solidFill>
                      </a:rPr>
                      <a:t>Schick Hydro 5 Ultimate Comfort Disposable Razor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2 Sensitive Disposable Razors 12 Pack</c:v>
                </c:pt>
                <c:pt idx="22">
                  <c:v>Gillette Mach 3 1 Handle + 2 Cartridges</c:v>
                </c:pt>
                <c:pt idx="23">
                  <c:v>Schick Xtreme 3 Sensitive Disposable Razors 4 Pack</c:v>
                </c:pt>
                <c:pt idx="24">
                  <c:v>Harry's 5 Blade 1 Handle + 5 Cartridges</c:v>
                </c:pt>
                <c:pt idx="25">
                  <c:v>Gillette Sensor 3 Sensitive Disposable Razors 4 Pack</c:v>
                </c:pt>
                <c:pt idx="26">
                  <c:v>Equate Speed 3 Disposable Razors 4 Pack</c:v>
                </c:pt>
                <c:pt idx="27">
                  <c:v>Bic 3 Sensitive Disposable Razors 5 Pack</c:v>
                </c:pt>
                <c:pt idx="28">
                  <c:v>Gillette Mach 3 Sensitive Skin Disposable Razors 3 Pack</c:v>
                </c:pt>
                <c:pt idx="29">
                  <c:v>Equate Easy Fit 5 Blade Refills 8 Pack</c:v>
                </c:pt>
                <c:pt idx="30">
                  <c:v>Gillette Sensor 2 Pivot Head Disposable Razors 12 Pack</c:v>
                </c:pt>
                <c:pt idx="31">
                  <c:v>Equate Caliber 5 Disposable Razors 3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Gillette Sensor 3 Sensitive Disposable Razors 12 Pack</c:v>
                </c:pt>
                <c:pt idx="44">
                  <c:v>Gillette Fusion 5 1 Handle + 3 Cartridges Holiday Pack</c:v>
                </c:pt>
                <c:pt idx="45">
                  <c:v>Schick Xtreme 3 Sensitive Disposable Razors 8 Pack</c:v>
                </c:pt>
                <c:pt idx="46">
                  <c:v>Bic Flex 4 Sensitive Skin Disposable Razors 3 Pack</c:v>
                </c:pt>
                <c:pt idx="47">
                  <c:v>Schick Hydro 3 Blade Ultra Sensitive 1 Handle + 4 Cartridges</c:v>
                </c:pt>
                <c:pt idx="48">
                  <c:v>Gillette Fusion 5 Proglide 1 Handle + 4 Cartridges</c:v>
                </c:pt>
                <c:pt idx="49">
                  <c:v>Schick Hydro 5 Ultimate Comfort Disposable Razors 3 Pack</c:v>
                </c:pt>
                <c:pt idx="50">
                  <c:v>Gillette Sensor 3 Disposable Razors 8 Pack</c:v>
                </c:pt>
                <c:pt idx="51">
                  <c:v>Equate Caliber 3 Disposable Razors 3 Pack</c:v>
                </c:pt>
                <c:pt idx="52">
                  <c:v>Equate Easy Fit 5 Blade Refills 12 Pack</c:v>
                </c:pt>
                <c:pt idx="53">
                  <c:v>Schick Hydro 5 Blade Sensitive Refills 12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439566867506531</c:v>
                </c:pt>
                <c:pt idx="1">
                  <c:v>0.11282982159598257</c:v>
                </c:pt>
                <c:pt idx="2">
                  <c:v>0.10306694405330527</c:v>
                </c:pt>
                <c:pt idx="3">
                  <c:v>0.10248749747144049</c:v>
                </c:pt>
                <c:pt idx="4">
                  <c:v>8.8803072519956963E-2</c:v>
                </c:pt>
                <c:pt idx="5">
                  <c:v>6.6678451349439352E-2</c:v>
                </c:pt>
                <c:pt idx="6">
                  <c:v>5.4741314650748649E-2</c:v>
                </c:pt>
                <c:pt idx="7">
                  <c:v>5.3821071350570696E-2</c:v>
                </c:pt>
                <c:pt idx="8">
                  <c:v>5.3634073319970901E-2</c:v>
                </c:pt>
                <c:pt idx="9">
                  <c:v>4.8761483610160986E-2</c:v>
                </c:pt>
                <c:pt idx="10">
                  <c:v>4.4206302034678735E-2</c:v>
                </c:pt>
                <c:pt idx="11">
                  <c:v>4.3818307802035848E-2</c:v>
                </c:pt>
                <c:pt idx="12">
                  <c:v>3.9450278868106647E-2</c:v>
                </c:pt>
                <c:pt idx="13">
                  <c:v>3.7833167948084175E-2</c:v>
                </c:pt>
                <c:pt idx="14">
                  <c:v>3.5682606772305038E-2</c:v>
                </c:pt>
                <c:pt idx="15">
                  <c:v>3.4305486665606677E-2</c:v>
                </c:pt>
                <c:pt idx="16">
                  <c:v>2.9951768841001692E-2</c:v>
                </c:pt>
                <c:pt idx="17">
                  <c:v>2.9003869787766094E-2</c:v>
                </c:pt>
                <c:pt idx="18">
                  <c:v>2.8183928347577561E-2</c:v>
                </c:pt>
                <c:pt idx="19">
                  <c:v>2.6969346191189691E-2</c:v>
                </c:pt>
                <c:pt idx="20">
                  <c:v>2.599840937392733E-2</c:v>
                </c:pt>
                <c:pt idx="21">
                  <c:v>2.4977890466380426E-2</c:v>
                </c:pt>
                <c:pt idx="22">
                  <c:v>2.4813283428379899E-2</c:v>
                </c:pt>
                <c:pt idx="23">
                  <c:v>2.4729575336211573E-2</c:v>
                </c:pt>
                <c:pt idx="24">
                  <c:v>2.2894635542487107E-2</c:v>
                </c:pt>
                <c:pt idx="25">
                  <c:v>2.1543897217812379E-2</c:v>
                </c:pt>
                <c:pt idx="26">
                  <c:v>2.1542647106806263E-2</c:v>
                </c:pt>
                <c:pt idx="27">
                  <c:v>2.1092325400560247E-2</c:v>
                </c:pt>
                <c:pt idx="28">
                  <c:v>2.1032387429322081E-2</c:v>
                </c:pt>
                <c:pt idx="29">
                  <c:v>2.0841641149652208E-2</c:v>
                </c:pt>
                <c:pt idx="30">
                  <c:v>2.0660079058559315E-2</c:v>
                </c:pt>
                <c:pt idx="31">
                  <c:v>2.0322126453572096E-2</c:v>
                </c:pt>
                <c:pt idx="32">
                  <c:v>1.9676401746548517E-2</c:v>
                </c:pt>
                <c:pt idx="33">
                  <c:v>1.8913060381875912E-2</c:v>
                </c:pt>
                <c:pt idx="34">
                  <c:v>1.8755054939854614E-2</c:v>
                </c:pt>
                <c:pt idx="35">
                  <c:v>1.870778796860767E-2</c:v>
                </c:pt>
                <c:pt idx="36">
                  <c:v>1.8574906800448095E-2</c:v>
                </c:pt>
                <c:pt idx="37">
                  <c:v>1.8370789623779454E-2</c:v>
                </c:pt>
                <c:pt idx="38">
                  <c:v>1.8111756127850719E-2</c:v>
                </c:pt>
                <c:pt idx="39">
                  <c:v>1.803488561749312E-2</c:v>
                </c:pt>
                <c:pt idx="40">
                  <c:v>1.754982671350111E-2</c:v>
                </c:pt>
                <c:pt idx="41">
                  <c:v>1.6761949866354389E-2</c:v>
                </c:pt>
                <c:pt idx="42">
                  <c:v>1.6162380339249448E-2</c:v>
                </c:pt>
                <c:pt idx="43">
                  <c:v>1.5933313308539317E-2</c:v>
                </c:pt>
                <c:pt idx="44">
                  <c:v>1.586256739594654E-2</c:v>
                </c:pt>
                <c:pt idx="45">
                  <c:v>1.5697150077087742E-2</c:v>
                </c:pt>
                <c:pt idx="46">
                  <c:v>1.5631922469308786E-2</c:v>
                </c:pt>
                <c:pt idx="47">
                  <c:v>1.550340047988592E-2</c:v>
                </c:pt>
                <c:pt idx="48">
                  <c:v>1.5468626334954039E-2</c:v>
                </c:pt>
                <c:pt idx="49">
                  <c:v>1.4747742819612405E-2</c:v>
                </c:pt>
                <c:pt idx="50">
                  <c:v>1.3903015082847633E-2</c:v>
                </c:pt>
                <c:pt idx="51">
                  <c:v>1.3823459604433168E-2</c:v>
                </c:pt>
                <c:pt idx="52">
                  <c:v>1.3590700701208068E-2</c:v>
                </c:pt>
                <c:pt idx="53">
                  <c:v>1.3490246320151699E-2</c:v>
                </c:pt>
                <c:pt idx="54">
                  <c:v>1.3093988221862944E-2</c:v>
                </c:pt>
                <c:pt idx="55">
                  <c:v>1.2760749880570063E-2</c:v>
                </c:pt>
                <c:pt idx="56">
                  <c:v>1.2534367966503687E-2</c:v>
                </c:pt>
                <c:pt idx="57">
                  <c:v>1.2466471590766285E-2</c:v>
                </c:pt>
                <c:pt idx="58">
                  <c:v>1.1842553879363877E-2</c:v>
                </c:pt>
                <c:pt idx="59">
                  <c:v>1.054613901442393E-2</c:v>
                </c:pt>
                <c:pt idx="60">
                  <c:v>9.8405432706049033E-3</c:v>
                </c:pt>
                <c:pt idx="61">
                  <c:v>9.1633290159835457E-3</c:v>
                </c:pt>
                <c:pt idx="62">
                  <c:v>8.944876272017609E-3</c:v>
                </c:pt>
                <c:pt idx="63">
                  <c:v>8.908468373689412E-3</c:v>
                </c:pt>
                <c:pt idx="64">
                  <c:v>8.7916358501604983E-3</c:v>
                </c:pt>
                <c:pt idx="65">
                  <c:v>8.7625721258504513E-3</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2 Sensitive Disposable Razors 24 Pack @11.97</c:v>
                </c:pt>
                <c:pt idx="1">
                  <c:v>Schick Xtreme 5 Sensitive Disposable Razors 4 Pack @11.97</c:v>
                </c:pt>
                <c:pt idx="2">
                  <c:v>Schick Xtreme 5 Sensitive Disposable Razors 8 Pack @19.97</c:v>
                </c:pt>
                <c:pt idx="3">
                  <c:v>Schick Xtreme 3 Body &amp; Groin Disposable Razors 3 Pack @9.97</c:v>
                </c:pt>
                <c:pt idx="4">
                  <c:v>Schick Hydro 5 Ultimate Comfort Disposable Razors 3 Pack @9.97</c:v>
                </c:pt>
              </c:strCache>
            </c:strRef>
          </c:cat>
          <c:val>
            <c:numRef>
              <c:f>Sheet1!$B$2:$B$6</c:f>
              <c:numCache>
                <c:formatCode>General</c:formatCode>
                <c:ptCount val="5"/>
                <c:pt idx="0">
                  <c:v>106.0686130583518</c:v>
                </c:pt>
                <c:pt idx="1">
                  <c:v>109.01733524635256</c:v>
                </c:pt>
                <c:pt idx="2">
                  <c:v>108.18996832874824</c:v>
                </c:pt>
                <c:pt idx="3">
                  <c:v>106.22659025896898</c:v>
                </c:pt>
                <c:pt idx="4">
                  <c:v>108.9029029578354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2 Sensitive Disposable Razors 24 Pack @11.97</c:v>
                </c:pt>
                <c:pt idx="1">
                  <c:v>Schick Xtreme 5 Sensitive Disposable Razors 4 Pack @11.97</c:v>
                </c:pt>
                <c:pt idx="2">
                  <c:v>Schick Xtreme 5 Sensitive Disposable Razors 8 Pack @19.97</c:v>
                </c:pt>
                <c:pt idx="3">
                  <c:v>Schick Xtreme 3 Body &amp; Groin Disposable Razors 3 Pack @9.97</c:v>
                </c:pt>
                <c:pt idx="4">
                  <c:v>Schick Hydro 5 Ultimate Comfort Disposable Razors 3 Pack @9.97</c:v>
                </c:pt>
              </c:strCache>
            </c:strRef>
          </c:cat>
          <c:val>
            <c:numRef>
              <c:f>Sheet1!$C$2:$C$6</c:f>
              <c:numCache>
                <c:formatCode>General</c:formatCode>
                <c:ptCount val="5"/>
                <c:pt idx="0">
                  <c:v>110.0816269306776</c:v>
                </c:pt>
                <c:pt idx="1">
                  <c:v>113.89099103262954</c:v>
                </c:pt>
                <c:pt idx="2">
                  <c:v>123.160803313972</c:v>
                </c:pt>
                <c:pt idx="3">
                  <c:v>107.84728117233257</c:v>
                </c:pt>
                <c:pt idx="4">
                  <c:v>111.1499445923986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2 Sensitive Disposable Razors 24 Pack @11.97</c:v>
                </c:pt>
                <c:pt idx="1">
                  <c:v>Schick Xtreme 5 Sensitive Disposable Razors 4 Pack @11.97</c:v>
                </c:pt>
                <c:pt idx="2">
                  <c:v>Schick Xtreme 5 Sensitive Disposable Razors 8 Pack @19.97</c:v>
                </c:pt>
                <c:pt idx="3">
                  <c:v>Schick Xtreme 3 Body &amp; Groin Disposable Razors 3 Pack @9.97</c:v>
                </c:pt>
                <c:pt idx="4">
                  <c:v>Schick Hydro 5 Ultimate Comfort Disposable Razors 3 Pack @9.97</c:v>
                </c:pt>
              </c:strCache>
            </c:strRef>
          </c:cat>
          <c:val>
            <c:numRef>
              <c:f>Sheet1!$D$2:$D$6</c:f>
              <c:numCache>
                <c:formatCode>General</c:formatCode>
                <c:ptCount val="5"/>
                <c:pt idx="0">
                  <c:v>112.32090661569976</c:v>
                </c:pt>
                <c:pt idx="1">
                  <c:v>117.20121764290894</c:v>
                </c:pt>
                <c:pt idx="2">
                  <c:v>126.10644544061232</c:v>
                </c:pt>
                <c:pt idx="3">
                  <c:v>107.01013730025153</c:v>
                </c:pt>
                <c:pt idx="4">
                  <c:v>111.1804417587932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Schick Xtreme 2 Sensitive Disposable Razors 2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6.7377710731660656E-2</c:v>
                </c:pt>
                <c:pt idx="1">
                  <c:v>0.1722586346613818</c:v>
                </c:pt>
                <c:pt idx="2">
                  <c:v>4.4240388190432203E-2</c:v>
                </c:pt>
                <c:pt idx="3">
                  <c:v>3.8851679697275425E-2</c:v>
                </c:pt>
                <c:pt idx="4">
                  <c:v>5.2596974606786459E-2</c:v>
                </c:pt>
                <c:pt idx="5">
                  <c:v>1.6945705588172787E-2</c:v>
                </c:pt>
                <c:pt idx="6">
                  <c:v>6.0457841460057712E-2</c:v>
                </c:pt>
                <c:pt idx="7">
                  <c:v>3.4750654569349983E-2</c:v>
                </c:pt>
                <c:pt idx="8">
                  <c:v>4.7450819191629891E-2</c:v>
                </c:pt>
                <c:pt idx="9">
                  <c:v>1.2216909412903876E-2</c:v>
                </c:pt>
                <c:pt idx="10">
                  <c:v>8.7109661101068658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5 Sensitive Disposable Razors 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7.9666106247486546E-2</c:v>
                </c:pt>
                <c:pt idx="1">
                  <c:v>4.0346546830244107E-2</c:v>
                </c:pt>
                <c:pt idx="2">
                  <c:v>7.7935834637335333E-2</c:v>
                </c:pt>
                <c:pt idx="3">
                  <c:v>6.3777545836803728E-2</c:v>
                </c:pt>
                <c:pt idx="4">
                  <c:v>5.0560369446941804E-2</c:v>
                </c:pt>
                <c:pt idx="5">
                  <c:v>4.5571837972906731E-2</c:v>
                </c:pt>
                <c:pt idx="6">
                  <c:v>1.8031417279213195E-2</c:v>
                </c:pt>
                <c:pt idx="7">
                  <c:v>3.9620754651296823E-2</c:v>
                </c:pt>
                <c:pt idx="8">
                  <c:v>2.2122652012926011E-2</c:v>
                </c:pt>
                <c:pt idx="9">
                  <c:v>3.1355015544543743E-2</c:v>
                </c:pt>
                <c:pt idx="10">
                  <c:v>1.5251872850783639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5 Sensitive Disposable Razors 8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6.689950556652409E-2</c:v>
                </c:pt>
                <c:pt idx="1">
                  <c:v>4.6163167817073095E-2</c:v>
                </c:pt>
                <c:pt idx="2">
                  <c:v>7.7984059648938828E-2</c:v>
                </c:pt>
                <c:pt idx="3">
                  <c:v>5.3156729409919633E-2</c:v>
                </c:pt>
                <c:pt idx="4">
                  <c:v>6.780102149544473E-2</c:v>
                </c:pt>
                <c:pt idx="5">
                  <c:v>3.7757978108824482E-2</c:v>
                </c:pt>
                <c:pt idx="6">
                  <c:v>2.2688648983961533E-2</c:v>
                </c:pt>
                <c:pt idx="7">
                  <c:v>4.321298812684584E-2</c:v>
                </c:pt>
                <c:pt idx="8">
                  <c:v>2.678898561367396E-2</c:v>
                </c:pt>
                <c:pt idx="9">
                  <c:v>1.8252278413549945E-2</c:v>
                </c:pt>
                <c:pt idx="10">
                  <c:v>1.4349570885349562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3 Body &amp; Groin Disposable Razor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9.8597204927214022E-2</c:v>
                </c:pt>
                <c:pt idx="1">
                  <c:v>5.5123768497541185E-2</c:v>
                </c:pt>
                <c:pt idx="2">
                  <c:v>6.9634970285870595E-2</c:v>
                </c:pt>
                <c:pt idx="3">
                  <c:v>4.87604564704558E-2</c:v>
                </c:pt>
                <c:pt idx="4">
                  <c:v>2.4633542350631137E-2</c:v>
                </c:pt>
                <c:pt idx="5">
                  <c:v>4.9097564133351319E-2</c:v>
                </c:pt>
                <c:pt idx="6">
                  <c:v>2.7997429931593584E-2</c:v>
                </c:pt>
                <c:pt idx="7">
                  <c:v>2.1992934043097597E-2</c:v>
                </c:pt>
                <c:pt idx="8">
                  <c:v>2.889543270432356E-2</c:v>
                </c:pt>
                <c:pt idx="9">
                  <c:v>3.6371193185529345E-2</c:v>
                </c:pt>
                <c:pt idx="10">
                  <c:v>1.8769173175150332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Schick Hydro 5 Ultimate Comfort Disposable Razor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9.8564510832583926E-2</c:v>
                </c:pt>
                <c:pt idx="1">
                  <c:v>4.4594229102173914E-2</c:v>
                </c:pt>
                <c:pt idx="2">
                  <c:v>5.39225654814754E-2</c:v>
                </c:pt>
                <c:pt idx="3">
                  <c:v>7.1178951958734388E-2</c:v>
                </c:pt>
                <c:pt idx="4">
                  <c:v>2.7017935250498358E-2</c:v>
                </c:pt>
                <c:pt idx="5">
                  <c:v>6.6312904009365667E-2</c:v>
                </c:pt>
                <c:pt idx="6">
                  <c:v>3.2212067519343024E-2</c:v>
                </c:pt>
                <c:pt idx="7">
                  <c:v>2.1716864269478386E-2</c:v>
                </c:pt>
                <c:pt idx="8">
                  <c:v>3.3225306928982699E-2</c:v>
                </c:pt>
                <c:pt idx="9">
                  <c:v>6.0185296721749847E-2</c:v>
                </c:pt>
                <c:pt idx="10">
                  <c:v>1.5808811066725777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Sensitive Disposable Razors 2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006C6D"/>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7ECAC4"/>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7ECAC4"/>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7ECAC4"/>
              </a:solidFill>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7ECAC4"/>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r>
                      <a:rPr lang="en-US" sz="500">
                        <a:solidFill>
                          <a:srgbClr val="006C6D"/>
                        </a:solidFill>
                      </a:rPr>
                      <a:t>Schick Xtreme 5 Sensitive Disposable Razors 2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Schick Xtreme 5 Sensitive Disposable Razors 2 Pack</c:v>
                </c:pt>
                <c:pt idx="20">
                  <c:v>Gillette Fusion 5 Proglide Blade Refills 12 Pack</c:v>
                </c:pt>
                <c:pt idx="21">
                  <c:v>Gillette Fusion 5 1 Handle + 2 Cartridges</c:v>
                </c:pt>
                <c:pt idx="22">
                  <c:v>Gillette Mach 3 1 Handle + 2 Cartridges</c:v>
                </c:pt>
                <c:pt idx="23">
                  <c:v>Schick Xtreme 2 Sensitive Disposable Razors 12 Pack</c:v>
                </c:pt>
                <c:pt idx="24">
                  <c:v>Harry's 5 Blade 1 Handle + 5 Cartridges</c:v>
                </c:pt>
                <c:pt idx="25">
                  <c:v>Schick Xtreme 3 Sensitive Disposable Razors 4 Pack</c:v>
                </c:pt>
                <c:pt idx="26">
                  <c:v>Gillette Sensor 3 Sensitive Disposable Razors 4 Pack</c:v>
                </c:pt>
                <c:pt idx="27">
                  <c:v>Equate Easy Fit 5 Blade Refills 8 Pack</c:v>
                </c:pt>
                <c:pt idx="28">
                  <c:v>Equate Speed 3 Disposable Razors 4 Pack</c:v>
                </c:pt>
                <c:pt idx="29">
                  <c:v>Bic 3 Sensitive Disposable Razors 5 Pack</c:v>
                </c:pt>
                <c:pt idx="30">
                  <c:v>Gillette Sensor 2 Pivot Head Disposable Razors 12 Pack</c:v>
                </c:pt>
                <c:pt idx="31">
                  <c:v>Gillette Mach 3 Sensitive Skin Disposable Razors 3 Pack</c:v>
                </c:pt>
                <c:pt idx="32">
                  <c:v>Equate Caliber 5 Disposable Razors 3 Pack</c:v>
                </c:pt>
                <c:pt idx="33">
                  <c:v>Gillette Sensor 2 Plus Disposable Razors 10 Pack</c:v>
                </c:pt>
                <c:pt idx="34">
                  <c:v>Dollar Shave Club 6 1 Handle + 2 Blades</c:v>
                </c:pt>
                <c:pt idx="35">
                  <c:v>Gillette Sensor 3 Disposable Razors 12 Pack</c:v>
                </c:pt>
                <c:pt idx="36">
                  <c:v>Equate Speed 3 Disposable Razors 8 Pack</c:v>
                </c:pt>
                <c:pt idx="37">
                  <c:v>Gillette Fusion 5 1 Handle + 5 Cartridges</c:v>
                </c:pt>
                <c:pt idx="38">
                  <c:v>Bic Comfort 3 Sensitive Skin Disposable Razors 4 Pack</c:v>
                </c:pt>
                <c:pt idx="39">
                  <c:v>Gillette Fusion 5 1 Handle + 7 Cartridges</c:v>
                </c:pt>
                <c:pt idx="40">
                  <c:v>Gillette Sensor 3 Sensitive Disposable Razors 8 Pack</c:v>
                </c:pt>
                <c:pt idx="41">
                  <c:v>Dollar Shave Club 6 Blades Blade Refills 8 Pack</c:v>
                </c:pt>
                <c:pt idx="42">
                  <c:v>Gillette Mach 3 1 Handle + 6 Cartridges</c:v>
                </c:pt>
                <c:pt idx="43">
                  <c:v>Schick Hydro 5 Blade Sensitive 1 Handle + 3 Cartridges</c:v>
                </c:pt>
                <c:pt idx="44">
                  <c:v>Gillette Fusion 5 1 Handle + 3 Cartridges Holiday Pack</c:v>
                </c:pt>
                <c:pt idx="45">
                  <c:v>Gillette Sensor 3 Sensitive Disposable Razors 12 Pack</c:v>
                </c:pt>
                <c:pt idx="46">
                  <c:v>Gillette Fusion 5 Proglide 1 Handle + 4 Cartridges</c:v>
                </c:pt>
                <c:pt idx="47">
                  <c:v>Schick Hydro 3 Blade Ultra Sensitive 1 Handle + 4 Cartridges</c:v>
                </c:pt>
                <c:pt idx="48">
                  <c:v>Schick Xtreme 3 Sensitive Disposable Razors 8 Pack</c:v>
                </c:pt>
                <c:pt idx="49">
                  <c:v>Bic Flex 4 Sensitive Skin Disposable Razors 3 Pack</c:v>
                </c:pt>
                <c:pt idx="50">
                  <c:v>Gillette Sensor 3 Disposable Razors 8 Pack</c:v>
                </c:pt>
                <c:pt idx="51">
                  <c:v>Schick Hydro 5 Blade Sensitive Refills 12 Pack</c:v>
                </c:pt>
                <c:pt idx="52">
                  <c:v>Equate Easy Fit 5 Blade Refills 12 Pack</c:v>
                </c:pt>
                <c:pt idx="53">
                  <c:v>Equate Caliber 3 Disposable Razors 3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Sensor 2 Pivot Head Disposable Razors 25 Pack</c:v>
                </c:pt>
                <c:pt idx="64">
                  <c:v>Gillette Mach 3 Blade Refills 15 Pack</c:v>
                </c:pt>
                <c:pt idx="65">
                  <c:v>Gillette Mach 3 Sensitive Skin Disposable Razors 6 Pack</c:v>
                </c:pt>
              </c:strCache>
            </c:strRef>
          </c:cat>
          <c:val>
            <c:numRef>
              <c:f>Sheet1!$B$2:$B$67</c:f>
              <c:numCache>
                <c:formatCode>General</c:formatCode>
                <c:ptCount val="66"/>
                <c:pt idx="0">
                  <c:v>0.2048980170179604</c:v>
                </c:pt>
                <c:pt idx="1">
                  <c:v>0.11183742393986756</c:v>
                </c:pt>
                <c:pt idx="2">
                  <c:v>0.10302297603554325</c:v>
                </c:pt>
                <c:pt idx="3">
                  <c:v>0.10215740001085828</c:v>
                </c:pt>
                <c:pt idx="4">
                  <c:v>8.8005067926907529E-2</c:v>
                </c:pt>
                <c:pt idx="5">
                  <c:v>6.6702143147255255E-2</c:v>
                </c:pt>
                <c:pt idx="6">
                  <c:v>5.471413838717093E-2</c:v>
                </c:pt>
                <c:pt idx="7">
                  <c:v>5.356885370434971E-2</c:v>
                </c:pt>
                <c:pt idx="8">
                  <c:v>5.3378081294465994E-2</c:v>
                </c:pt>
                <c:pt idx="9">
                  <c:v>4.8709941290514286E-2</c:v>
                </c:pt>
                <c:pt idx="10">
                  <c:v>4.434631699840183E-2</c:v>
                </c:pt>
                <c:pt idx="11">
                  <c:v>4.3658696698951678E-2</c:v>
                </c:pt>
                <c:pt idx="12">
                  <c:v>3.9470038352393308E-2</c:v>
                </c:pt>
                <c:pt idx="13">
                  <c:v>3.7841882181821107E-2</c:v>
                </c:pt>
                <c:pt idx="14">
                  <c:v>3.5724874601772899E-2</c:v>
                </c:pt>
                <c:pt idx="15">
                  <c:v>3.4366577795443179E-2</c:v>
                </c:pt>
                <c:pt idx="16">
                  <c:v>3.0304500034499054E-2</c:v>
                </c:pt>
                <c:pt idx="17">
                  <c:v>2.8995516079370114E-2</c:v>
                </c:pt>
                <c:pt idx="18">
                  <c:v>2.8205520085797776E-2</c:v>
                </c:pt>
                <c:pt idx="19">
                  <c:v>2.8058864653304511E-2</c:v>
                </c:pt>
                <c:pt idx="20">
                  <c:v>2.6976701935288106E-2</c:v>
                </c:pt>
                <c:pt idx="21">
                  <c:v>2.5845587627704267E-2</c:v>
                </c:pt>
                <c:pt idx="22">
                  <c:v>2.4686846064080354E-2</c:v>
                </c:pt>
                <c:pt idx="23">
                  <c:v>2.3783510402757356E-2</c:v>
                </c:pt>
                <c:pt idx="24">
                  <c:v>2.2844256112460128E-2</c:v>
                </c:pt>
                <c:pt idx="25">
                  <c:v>2.279941308463939E-2</c:v>
                </c:pt>
                <c:pt idx="26">
                  <c:v>2.0861346475080901E-2</c:v>
                </c:pt>
                <c:pt idx="27">
                  <c:v>2.0849878663012623E-2</c:v>
                </c:pt>
                <c:pt idx="28">
                  <c:v>2.084249905569744E-2</c:v>
                </c:pt>
                <c:pt idx="29">
                  <c:v>2.0838122779649908E-2</c:v>
                </c:pt>
                <c:pt idx="30">
                  <c:v>2.0748148891664823E-2</c:v>
                </c:pt>
                <c:pt idx="31">
                  <c:v>1.9794029611839032E-2</c:v>
                </c:pt>
                <c:pt idx="32">
                  <c:v>1.9718191684323164E-2</c:v>
                </c:pt>
                <c:pt idx="33">
                  <c:v>1.9717088571441478E-2</c:v>
                </c:pt>
                <c:pt idx="34">
                  <c:v>1.8927734059808403E-2</c:v>
                </c:pt>
                <c:pt idx="35">
                  <c:v>1.869277367623777E-2</c:v>
                </c:pt>
                <c:pt idx="36">
                  <c:v>1.8312998276564664E-2</c:v>
                </c:pt>
                <c:pt idx="37">
                  <c:v>1.8279653103446133E-2</c:v>
                </c:pt>
                <c:pt idx="38">
                  <c:v>1.8187240757113081E-2</c:v>
                </c:pt>
                <c:pt idx="39">
                  <c:v>1.8056077975566229E-2</c:v>
                </c:pt>
                <c:pt idx="40">
                  <c:v>1.7808833270070754E-2</c:v>
                </c:pt>
                <c:pt idx="41">
                  <c:v>1.7617229088866562E-2</c:v>
                </c:pt>
                <c:pt idx="42">
                  <c:v>1.6719921686837971E-2</c:v>
                </c:pt>
                <c:pt idx="43">
                  <c:v>1.6212761517520342E-2</c:v>
                </c:pt>
                <c:pt idx="44">
                  <c:v>1.574482857636389E-2</c:v>
                </c:pt>
                <c:pt idx="45">
                  <c:v>1.5659560906204111E-2</c:v>
                </c:pt>
                <c:pt idx="46">
                  <c:v>1.5457804979730167E-2</c:v>
                </c:pt>
                <c:pt idx="47">
                  <c:v>1.5432109096214374E-2</c:v>
                </c:pt>
                <c:pt idx="48">
                  <c:v>1.5099296639496168E-2</c:v>
                </c:pt>
                <c:pt idx="49">
                  <c:v>1.5008633001829844E-2</c:v>
                </c:pt>
                <c:pt idx="50">
                  <c:v>1.3855963453000178E-2</c:v>
                </c:pt>
                <c:pt idx="51">
                  <c:v>1.363285009529183E-2</c:v>
                </c:pt>
                <c:pt idx="52">
                  <c:v>1.3593556075098046E-2</c:v>
                </c:pt>
                <c:pt idx="53">
                  <c:v>1.3504008432328697E-2</c:v>
                </c:pt>
                <c:pt idx="54">
                  <c:v>1.2985281487886262E-2</c:v>
                </c:pt>
                <c:pt idx="55">
                  <c:v>1.2617486301955401E-2</c:v>
                </c:pt>
                <c:pt idx="56">
                  <c:v>1.2291306421430715E-2</c:v>
                </c:pt>
                <c:pt idx="57">
                  <c:v>1.2260258655734317E-2</c:v>
                </c:pt>
                <c:pt idx="58">
                  <c:v>1.1535896449979394E-2</c:v>
                </c:pt>
                <c:pt idx="59">
                  <c:v>1.053890396521368E-2</c:v>
                </c:pt>
                <c:pt idx="60">
                  <c:v>9.4785938982928954E-3</c:v>
                </c:pt>
                <c:pt idx="61">
                  <c:v>9.1774455295110403E-3</c:v>
                </c:pt>
                <c:pt idx="62">
                  <c:v>8.8252667616452677E-3</c:v>
                </c:pt>
                <c:pt idx="63">
                  <c:v>8.8178640952001324E-3</c:v>
                </c:pt>
                <c:pt idx="64">
                  <c:v>8.7621980667738786E-3</c:v>
                </c:pt>
                <c:pt idx="65">
                  <c:v>8.6332125025002301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First 4 Blade Disposable Razors 3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lang="en-US" sz="500">
                        <a:solidFill>
                          <a:srgbClr val="006C6D"/>
                        </a:solidFill>
                      </a:rPr>
                      <a:t>Schick First 4 Blade Disposable Razor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Gillette Mach 3 1 Handle + 2 Cartridges</c:v>
                </c:pt>
                <c:pt idx="23">
                  <c:v>Schick Xtreme 2 Sensitive Disposable Razors 12 Pack</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Gillette Fusion 5 1 Handle + 3 Cartridges Holiday Pack</c:v>
                </c:pt>
                <c:pt idx="47">
                  <c:v>Bic Flex 4 Sensitive Skin Disposable Razors 3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Schick First 4 Blade Disposable Razors 3 Pack</c:v>
                </c:pt>
              </c:strCache>
            </c:strRef>
          </c:cat>
          <c:val>
            <c:numRef>
              <c:f>Sheet1!$B$2:$B$67</c:f>
              <c:numCache>
                <c:formatCode>General</c:formatCode>
                <c:ptCount val="66"/>
                <c:pt idx="0">
                  <c:v>0.2038331051390177</c:v>
                </c:pt>
                <c:pt idx="1">
                  <c:v>0.11350961157586263</c:v>
                </c:pt>
                <c:pt idx="2">
                  <c:v>0.10282802579705375</c:v>
                </c:pt>
                <c:pt idx="3">
                  <c:v>0.10256213443791595</c:v>
                </c:pt>
                <c:pt idx="4">
                  <c:v>8.8553832488667258E-2</c:v>
                </c:pt>
                <c:pt idx="5">
                  <c:v>6.6482080372081531E-2</c:v>
                </c:pt>
                <c:pt idx="6">
                  <c:v>5.4962869209798378E-2</c:v>
                </c:pt>
                <c:pt idx="7">
                  <c:v>5.3847941957327478E-2</c:v>
                </c:pt>
                <c:pt idx="8">
                  <c:v>5.3720835163691097E-2</c:v>
                </c:pt>
                <c:pt idx="9">
                  <c:v>4.8673196227486296E-2</c:v>
                </c:pt>
                <c:pt idx="10">
                  <c:v>4.4225741541877001E-2</c:v>
                </c:pt>
                <c:pt idx="11">
                  <c:v>4.3696761333295558E-2</c:v>
                </c:pt>
                <c:pt idx="12">
                  <c:v>3.9347080939516874E-2</c:v>
                </c:pt>
                <c:pt idx="13">
                  <c:v>3.7923448042400679E-2</c:v>
                </c:pt>
                <c:pt idx="14">
                  <c:v>3.5825274627449957E-2</c:v>
                </c:pt>
                <c:pt idx="15">
                  <c:v>3.497671862076699E-2</c:v>
                </c:pt>
                <c:pt idx="16">
                  <c:v>3.0674447624924286E-2</c:v>
                </c:pt>
                <c:pt idx="17">
                  <c:v>2.8910862992086023E-2</c:v>
                </c:pt>
                <c:pt idx="18">
                  <c:v>2.812467527158545E-2</c:v>
                </c:pt>
                <c:pt idx="19">
                  <c:v>2.6888861365113672E-2</c:v>
                </c:pt>
                <c:pt idx="20">
                  <c:v>2.6098396199265413E-2</c:v>
                </c:pt>
                <c:pt idx="21">
                  <c:v>2.5446732519639484E-2</c:v>
                </c:pt>
                <c:pt idx="22">
                  <c:v>2.515307998371364E-2</c:v>
                </c:pt>
                <c:pt idx="23">
                  <c:v>2.5071640746034261E-2</c:v>
                </c:pt>
                <c:pt idx="24">
                  <c:v>2.2961597065692823E-2</c:v>
                </c:pt>
                <c:pt idx="25">
                  <c:v>2.183772525412787E-2</c:v>
                </c:pt>
                <c:pt idx="26">
                  <c:v>2.1537842166205762E-2</c:v>
                </c:pt>
                <c:pt idx="27">
                  <c:v>2.1233527844890809E-2</c:v>
                </c:pt>
                <c:pt idx="28">
                  <c:v>2.1142618365066233E-2</c:v>
                </c:pt>
                <c:pt idx="29">
                  <c:v>2.1012711131809952E-2</c:v>
                </c:pt>
                <c:pt idx="30">
                  <c:v>2.0814548766349628E-2</c:v>
                </c:pt>
                <c:pt idx="31">
                  <c:v>2.0263897175868583E-2</c:v>
                </c:pt>
                <c:pt idx="32">
                  <c:v>1.9992901421990731E-2</c:v>
                </c:pt>
                <c:pt idx="33">
                  <c:v>1.9090602694712092E-2</c:v>
                </c:pt>
                <c:pt idx="34">
                  <c:v>1.9058393316010249E-2</c:v>
                </c:pt>
                <c:pt idx="35">
                  <c:v>1.8737166649001876E-2</c:v>
                </c:pt>
                <c:pt idx="36">
                  <c:v>1.8626724153839723E-2</c:v>
                </c:pt>
                <c:pt idx="37">
                  <c:v>1.8408386169555372E-2</c:v>
                </c:pt>
                <c:pt idx="38">
                  <c:v>1.8278488024493958E-2</c:v>
                </c:pt>
                <c:pt idx="39">
                  <c:v>1.8145298658603058E-2</c:v>
                </c:pt>
                <c:pt idx="40">
                  <c:v>1.7557175431722572E-2</c:v>
                </c:pt>
                <c:pt idx="41">
                  <c:v>1.688598463429471E-2</c:v>
                </c:pt>
                <c:pt idx="42">
                  <c:v>1.6801263757642949E-2</c:v>
                </c:pt>
                <c:pt idx="43">
                  <c:v>1.6233787959619116E-2</c:v>
                </c:pt>
                <c:pt idx="44">
                  <c:v>1.6144877583303061E-2</c:v>
                </c:pt>
                <c:pt idx="45">
                  <c:v>1.5962708633055371E-2</c:v>
                </c:pt>
                <c:pt idx="46">
                  <c:v>1.5912797596694693E-2</c:v>
                </c:pt>
                <c:pt idx="47">
                  <c:v>1.5814506700992818E-2</c:v>
                </c:pt>
                <c:pt idx="48">
                  <c:v>1.5553200416132966E-2</c:v>
                </c:pt>
                <c:pt idx="49">
                  <c:v>1.4113405883621413E-2</c:v>
                </c:pt>
                <c:pt idx="50">
                  <c:v>1.3787158055803222E-2</c:v>
                </c:pt>
                <c:pt idx="51">
                  <c:v>1.3668200533214134E-2</c:v>
                </c:pt>
                <c:pt idx="52">
                  <c:v>1.3573563016476498E-2</c:v>
                </c:pt>
                <c:pt idx="53">
                  <c:v>1.3157073750861425E-2</c:v>
                </c:pt>
                <c:pt idx="54">
                  <c:v>1.2815884242113787E-2</c:v>
                </c:pt>
                <c:pt idx="55">
                  <c:v>1.2653338743688599E-2</c:v>
                </c:pt>
                <c:pt idx="56">
                  <c:v>1.2544842540130474E-2</c:v>
                </c:pt>
                <c:pt idx="57">
                  <c:v>1.1959973297593181E-2</c:v>
                </c:pt>
                <c:pt idx="58">
                  <c:v>1.0743976076929068E-2</c:v>
                </c:pt>
                <c:pt idx="59">
                  <c:v>1.0155780653379179E-2</c:v>
                </c:pt>
                <c:pt idx="60">
                  <c:v>9.2289775575137237E-3</c:v>
                </c:pt>
                <c:pt idx="61">
                  <c:v>9.0357238561212007E-3</c:v>
                </c:pt>
                <c:pt idx="62">
                  <c:v>9.0260094664191461E-3</c:v>
                </c:pt>
                <c:pt idx="63">
                  <c:v>8.9809344843254559E-3</c:v>
                </c:pt>
                <c:pt idx="64">
                  <c:v>8.7837134733989523E-3</c:v>
                </c:pt>
                <c:pt idx="65">
                  <c:v>6.4253586201624465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Four Blade Refills 3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7ECAC4"/>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lang="en-US" sz="500">
                        <a:solidFill>
                          <a:srgbClr val="006C6D"/>
                        </a:solidFill>
                      </a:rPr>
                      <a:t>Schick Quattro Four Blade Refill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Bic Flex 4 Sensitive Skin Disposable Razors 3 Pack</c:v>
                </c:pt>
                <c:pt idx="47">
                  <c:v>Gillette Fusion 5 1 Handle + 3 Cartridges Holiday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Schick Quattro Four Blade Refills 3 Pack</c:v>
                </c:pt>
              </c:strCache>
            </c:strRef>
          </c:cat>
          <c:val>
            <c:numRef>
              <c:f>Sheet1!$B$2:$B$67</c:f>
              <c:numCache>
                <c:formatCode>General</c:formatCode>
                <c:ptCount val="66"/>
                <c:pt idx="0">
                  <c:v>0.20300295906265753</c:v>
                </c:pt>
                <c:pt idx="1">
                  <c:v>0.11381692950854114</c:v>
                </c:pt>
                <c:pt idx="2">
                  <c:v>0.10240064152597171</c:v>
                </c:pt>
                <c:pt idx="3">
                  <c:v>0.10220563071471317</c:v>
                </c:pt>
                <c:pt idx="4">
                  <c:v>8.8182207955428804E-2</c:v>
                </c:pt>
                <c:pt idx="5">
                  <c:v>6.6204080577802096E-2</c:v>
                </c:pt>
                <c:pt idx="6">
                  <c:v>5.5220899286084091E-2</c:v>
                </c:pt>
                <c:pt idx="7">
                  <c:v>5.4106825158015008E-2</c:v>
                </c:pt>
                <c:pt idx="8">
                  <c:v>5.4049684540939828E-2</c:v>
                </c:pt>
                <c:pt idx="9">
                  <c:v>4.8521136379663994E-2</c:v>
                </c:pt>
                <c:pt idx="10">
                  <c:v>4.4136240670000694E-2</c:v>
                </c:pt>
                <c:pt idx="11">
                  <c:v>4.3527654290027189E-2</c:v>
                </c:pt>
                <c:pt idx="12">
                  <c:v>3.9166504243939491E-2</c:v>
                </c:pt>
                <c:pt idx="13">
                  <c:v>3.798986816662777E-2</c:v>
                </c:pt>
                <c:pt idx="14">
                  <c:v>3.5708757508148878E-2</c:v>
                </c:pt>
                <c:pt idx="15">
                  <c:v>3.5032144979768108E-2</c:v>
                </c:pt>
                <c:pt idx="16">
                  <c:v>3.0643370886142704E-2</c:v>
                </c:pt>
                <c:pt idx="17">
                  <c:v>2.8786116426591759E-2</c:v>
                </c:pt>
                <c:pt idx="18">
                  <c:v>2.7993102075914461E-2</c:v>
                </c:pt>
                <c:pt idx="19">
                  <c:v>2.6764317153614058E-2</c:v>
                </c:pt>
                <c:pt idx="20">
                  <c:v>2.6167380399026507E-2</c:v>
                </c:pt>
                <c:pt idx="21">
                  <c:v>2.5999703513135138E-2</c:v>
                </c:pt>
                <c:pt idx="22">
                  <c:v>2.5598372441058247E-2</c:v>
                </c:pt>
                <c:pt idx="23">
                  <c:v>2.5278088494842126E-2</c:v>
                </c:pt>
                <c:pt idx="24">
                  <c:v>2.3014339441218765E-2</c:v>
                </c:pt>
                <c:pt idx="25">
                  <c:v>2.2008818223320754E-2</c:v>
                </c:pt>
                <c:pt idx="26">
                  <c:v>2.1834403856540938E-2</c:v>
                </c:pt>
                <c:pt idx="27">
                  <c:v>2.14358748899545E-2</c:v>
                </c:pt>
                <c:pt idx="28">
                  <c:v>2.1305767098765187E-2</c:v>
                </c:pt>
                <c:pt idx="29">
                  <c:v>2.1091492331081787E-2</c:v>
                </c:pt>
                <c:pt idx="30">
                  <c:v>2.0741502344688245E-2</c:v>
                </c:pt>
                <c:pt idx="31">
                  <c:v>2.0504179655379508E-2</c:v>
                </c:pt>
                <c:pt idx="32">
                  <c:v>2.0081240624723603E-2</c:v>
                </c:pt>
                <c:pt idx="33">
                  <c:v>1.919135750659751E-2</c:v>
                </c:pt>
                <c:pt idx="34">
                  <c:v>1.9154022416710981E-2</c:v>
                </c:pt>
                <c:pt idx="35">
                  <c:v>1.8931220009451896E-2</c:v>
                </c:pt>
                <c:pt idx="36">
                  <c:v>1.8795964234193285E-2</c:v>
                </c:pt>
                <c:pt idx="37">
                  <c:v>1.8448826554381324E-2</c:v>
                </c:pt>
                <c:pt idx="38">
                  <c:v>1.8374788137555612E-2</c:v>
                </c:pt>
                <c:pt idx="39">
                  <c:v>1.8171927296408423E-2</c:v>
                </c:pt>
                <c:pt idx="40">
                  <c:v>1.7509621111392409E-2</c:v>
                </c:pt>
                <c:pt idx="41">
                  <c:v>1.6937059020613848E-2</c:v>
                </c:pt>
                <c:pt idx="42">
                  <c:v>1.6933462052213227E-2</c:v>
                </c:pt>
                <c:pt idx="43">
                  <c:v>1.6431988377147523E-2</c:v>
                </c:pt>
                <c:pt idx="44">
                  <c:v>1.624914992756208E-2</c:v>
                </c:pt>
                <c:pt idx="45">
                  <c:v>1.6099158274303787E-2</c:v>
                </c:pt>
                <c:pt idx="46">
                  <c:v>1.6009198680041224E-2</c:v>
                </c:pt>
                <c:pt idx="47">
                  <c:v>1.5953846925057868E-2</c:v>
                </c:pt>
                <c:pt idx="48">
                  <c:v>1.5585404088455629E-2</c:v>
                </c:pt>
                <c:pt idx="49">
                  <c:v>1.4180038753009466E-2</c:v>
                </c:pt>
                <c:pt idx="50">
                  <c:v>1.3936462667178859E-2</c:v>
                </c:pt>
                <c:pt idx="51">
                  <c:v>1.3620233383446825E-2</c:v>
                </c:pt>
                <c:pt idx="52">
                  <c:v>1.3524827875371416E-2</c:v>
                </c:pt>
                <c:pt idx="53">
                  <c:v>1.3233377405899936E-2</c:v>
                </c:pt>
                <c:pt idx="54">
                  <c:v>1.2914570843093477E-2</c:v>
                </c:pt>
                <c:pt idx="55">
                  <c:v>1.2721311033404207E-2</c:v>
                </c:pt>
                <c:pt idx="56">
                  <c:v>1.2624816566346743E-2</c:v>
                </c:pt>
                <c:pt idx="57">
                  <c:v>1.2073368025706039E-2</c:v>
                </c:pt>
                <c:pt idx="58">
                  <c:v>1.0800361523770893E-2</c:v>
                </c:pt>
                <c:pt idx="59">
                  <c:v>1.0294312021952669E-2</c:v>
                </c:pt>
                <c:pt idx="60">
                  <c:v>9.2530605863146119E-3</c:v>
                </c:pt>
                <c:pt idx="61">
                  <c:v>9.0889763363414065E-3</c:v>
                </c:pt>
                <c:pt idx="62">
                  <c:v>9.0796207271513635E-3</c:v>
                </c:pt>
                <c:pt idx="63">
                  <c:v>9.0284823798812038E-3</c:v>
                </c:pt>
                <c:pt idx="64">
                  <c:v>8.7537517607625716E-3</c:v>
                </c:pt>
                <c:pt idx="65">
                  <c:v>3.5751990739538702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5 Sensitive Disposable Razors 2 Pack @6.47</c:v>
                </c:pt>
                <c:pt idx="1">
                  <c:v>Schick First 4 Blade Disposable Razors 3 Pack @6.47</c:v>
                </c:pt>
              </c:strCache>
            </c:strRef>
          </c:cat>
          <c:val>
            <c:numRef>
              <c:f>Sheet1!$B$2:$B$3</c:f>
              <c:numCache>
                <c:formatCode>General</c:formatCode>
                <c:ptCount val="2"/>
                <c:pt idx="0">
                  <c:v>115.53766604101141</c:v>
                </c:pt>
                <c:pt idx="1">
                  <c:v>103.55454538586271</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5 Sensitive Disposable Razors 2 Pack @6.47</c:v>
                </c:pt>
                <c:pt idx="1">
                  <c:v>Schick First 4 Blade Disposable Razors 3 Pack @6.47</c:v>
                </c:pt>
              </c:strCache>
            </c:strRef>
          </c:cat>
          <c:val>
            <c:numRef>
              <c:f>Sheet1!$C$2:$C$3</c:f>
              <c:numCache>
                <c:formatCode>General</c:formatCode>
                <c:ptCount val="2"/>
                <c:pt idx="0">
                  <c:v>111.00647932379168</c:v>
                </c:pt>
                <c:pt idx="1">
                  <c:v>102.6061337397372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5 Sensitive Disposable Razors 2 Pack @6.47</c:v>
                </c:pt>
                <c:pt idx="1">
                  <c:v>Schick First 4 Blade Disposable Razors 3 Pack @6.47</c:v>
                </c:pt>
              </c:strCache>
            </c:strRef>
          </c:cat>
          <c:val>
            <c:numRef>
              <c:f>Sheet1!$D$2:$D$3</c:f>
              <c:numCache>
                <c:formatCode>General</c:formatCode>
                <c:ptCount val="2"/>
                <c:pt idx="0">
                  <c:v>114.56560814089647</c:v>
                </c:pt>
                <c:pt idx="1">
                  <c:v>102.255229619882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5 Sensitive Disposable Razors 2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None Razors</c:v>
                </c:pt>
                <c:pt idx="3">
                  <c:v>Gillette Mach 3 Sensitive Skin Disposable Razors 3 Pack</c:v>
                </c:pt>
                <c:pt idx="4">
                  <c:v>Equate Speed 3 Disposable Razors 4 Pack</c:v>
                </c:pt>
                <c:pt idx="5">
                  <c:v>Schick Xtreme 3 Sensitive Disposable Razors 8 Pack</c:v>
                </c:pt>
                <c:pt idx="6">
                  <c:v>Bic Men Sensitive Single Blade Disposable Razors 12 Pack</c:v>
                </c:pt>
                <c:pt idx="7">
                  <c:v>Equate Caliber 5 Disposable Razors 3 Pack</c:v>
                </c:pt>
                <c:pt idx="8">
                  <c:v>Gillette Sensor 3 Sensitive Disposable Razors 4 Pack</c:v>
                </c:pt>
                <c:pt idx="9">
                  <c:v>Bic Flex 4 Sensitive Skin Disposable Razors 3 Pack</c:v>
                </c:pt>
                <c:pt idx="10">
                  <c:v>Equate 2 Blade Disposable Razors 5 Pack</c:v>
                </c:pt>
              </c:strCache>
            </c:strRef>
          </c:cat>
          <c:val>
            <c:numRef>
              <c:f>Sheet1!$B$2:$B$12</c:f>
              <c:numCache>
                <c:formatCode>General</c:formatCode>
                <c:ptCount val="11"/>
                <c:pt idx="0">
                  <c:v>0.12546012920994548</c:v>
                </c:pt>
                <c:pt idx="1">
                  <c:v>6.7471746059377641E-2</c:v>
                </c:pt>
                <c:pt idx="2">
                  <c:v>7.4177055418005705E-2</c:v>
                </c:pt>
                <c:pt idx="3">
                  <c:v>6.5316526029691332E-2</c:v>
                </c:pt>
                <c:pt idx="4">
                  <c:v>3.7439836994243164E-2</c:v>
                </c:pt>
                <c:pt idx="5">
                  <c:v>5.0571165099918235E-2</c:v>
                </c:pt>
                <c:pt idx="6">
                  <c:v>2.4492508725724296E-2</c:v>
                </c:pt>
                <c:pt idx="7">
                  <c:v>2.9731670423506256E-2</c:v>
                </c:pt>
                <c:pt idx="8">
                  <c:v>4.1757032417190393E-2</c:v>
                </c:pt>
                <c:pt idx="9">
                  <c:v>3.7096167889432249E-2</c:v>
                </c:pt>
                <c:pt idx="10">
                  <c:v>1.9290428593069765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First 4 Blade Disposable Razor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None Razors</c:v>
                </c:pt>
                <c:pt idx="3">
                  <c:v>Gillette Mach 3 Sensitive Skin Disposable Razors 3 Pack</c:v>
                </c:pt>
                <c:pt idx="4">
                  <c:v>Equate Speed 3 Disposable Razors 4 Pack</c:v>
                </c:pt>
                <c:pt idx="5">
                  <c:v>Schick Xtreme 3 Sensitive Disposable Razors 8 Pack</c:v>
                </c:pt>
                <c:pt idx="6">
                  <c:v>Bic Men Sensitive Single Blade Disposable Razors 12 Pack</c:v>
                </c:pt>
                <c:pt idx="7">
                  <c:v>Equate Caliber 5 Disposable Razors 3 Pack</c:v>
                </c:pt>
                <c:pt idx="8">
                  <c:v>Gillette Sensor 3 Sensitive Disposable Razors 4 Pack</c:v>
                </c:pt>
                <c:pt idx="9">
                  <c:v>Bic Flex 4 Sensitive Skin Disposable Razors 3 Pack</c:v>
                </c:pt>
                <c:pt idx="10">
                  <c:v>Equate 2 Blade Disposable Razors 5 Pack</c:v>
                </c:pt>
              </c:strCache>
            </c:strRef>
          </c:cat>
          <c:val>
            <c:numRef>
              <c:f>Sheet1!$B$2:$B$12</c:f>
              <c:numCache>
                <c:formatCode>General</c:formatCode>
                <c:ptCount val="11"/>
                <c:pt idx="0">
                  <c:v>9.1622083911201718E-2</c:v>
                </c:pt>
                <c:pt idx="1">
                  <c:v>8.4107811738873453E-2</c:v>
                </c:pt>
                <c:pt idx="2">
                  <c:v>5.143353234978644E-2</c:v>
                </c:pt>
                <c:pt idx="3">
                  <c:v>3.4901951369359481E-2</c:v>
                </c:pt>
                <c:pt idx="4">
                  <c:v>4.8698030691612791E-2</c:v>
                </c:pt>
                <c:pt idx="5">
                  <c:v>3.2443800301764802E-2</c:v>
                </c:pt>
                <c:pt idx="6">
                  <c:v>5.3092217438061112E-2</c:v>
                </c:pt>
                <c:pt idx="7">
                  <c:v>3.9642489390288214E-2</c:v>
                </c:pt>
                <c:pt idx="8">
                  <c:v>2.7254224737824718E-2</c:v>
                </c:pt>
                <c:pt idx="9">
                  <c:v>3.1158488052556284E-2</c:v>
                </c:pt>
                <c:pt idx="10">
                  <c:v>4.086321981639978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5 Blades Blade Refills 4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006C6D"/>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7ECAC4"/>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7ECAC4"/>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r>
                      <a:rPr lang="en-US" sz="500">
                        <a:solidFill>
                          <a:srgbClr val="006C6D"/>
                        </a:solidFill>
                      </a:rPr>
                      <a:t>Equate 5 Blades Blade Refills 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Equate 5 Blades Blade Refills 4 Pack</c:v>
                </c:pt>
                <c:pt idx="15">
                  <c:v>Gillette Mach 3 Blade Refills 8 Pack</c:v>
                </c:pt>
                <c:pt idx="16">
                  <c:v>Schick Hydro 3 Blade Ultra Sensitive Refills 5 Pack</c:v>
                </c:pt>
                <c:pt idx="17">
                  <c:v>Schick Hydro 5 Blade Sensitive Refills 6 Pack</c:v>
                </c:pt>
                <c:pt idx="18">
                  <c:v>Gillette Fusion 5 Blade Refills 12 Pack</c:v>
                </c:pt>
                <c:pt idx="19">
                  <c:v>Harry's Men Five Blade Refills 12 Pack</c:v>
                </c:pt>
                <c:pt idx="20">
                  <c:v>Gillette Fusion 5 Proglide Blade Refills 12 Pack</c:v>
                </c:pt>
                <c:pt idx="21">
                  <c:v>Gillette Fusion 5 1 Handle + 2 Cartridges</c:v>
                </c:pt>
                <c:pt idx="22">
                  <c:v>Schick Xtreme 3 Sensitive Disposable Razors 4 Pack</c:v>
                </c:pt>
                <c:pt idx="23">
                  <c:v>Schick Xtreme 2 Sensitive Disposable Razors 12 Pack</c:v>
                </c:pt>
                <c:pt idx="24">
                  <c:v>Gillette Mach 3 1 Handle + 2 Cartridges</c:v>
                </c:pt>
                <c:pt idx="25">
                  <c:v>Harry's 5 Blade 1 Handle + 5 Cartridges</c:v>
                </c:pt>
                <c:pt idx="26">
                  <c:v>Gillette Sensor 3 Sensitive Disposable Razors 4 Pack</c:v>
                </c:pt>
                <c:pt idx="27">
                  <c:v>Equate Speed 3 Disposable Razors 4 Pack</c:v>
                </c:pt>
                <c:pt idx="28">
                  <c:v>Gillette Mach 3 Sensitive Skin Disposable Razors 3 Pack</c:v>
                </c:pt>
                <c:pt idx="29">
                  <c:v>Bic 3 Sensitive Disposable Razors 5 Pack</c:v>
                </c:pt>
                <c:pt idx="30">
                  <c:v>Gillette Sensor 2 Pivot Head Disposable Razors 12 Pack</c:v>
                </c:pt>
                <c:pt idx="31">
                  <c:v>Equate Caliber 5 Disposable Razors 3 Pack</c:v>
                </c:pt>
                <c:pt idx="32">
                  <c:v>Equate Easy Fit 5 Blade Refills 8 Pack</c:v>
                </c:pt>
                <c:pt idx="33">
                  <c:v>Gillette Sensor 2 Plus Disposable Razors 10 Pack</c:v>
                </c:pt>
                <c:pt idx="34">
                  <c:v>Dollar Shave Club 6 1 Handle + 2 Blades</c:v>
                </c:pt>
                <c:pt idx="35">
                  <c:v>Gillette Sensor 3 Disposable Razors 12 Pack</c:v>
                </c:pt>
                <c:pt idx="36">
                  <c:v>Equate Speed 3 Disposable Razors 8 Pack</c:v>
                </c:pt>
                <c:pt idx="37">
                  <c:v>Bic Comfort 3 Sensitive Skin Disposable Razors 4 Pack</c:v>
                </c:pt>
                <c:pt idx="38">
                  <c:v>Gillette Fusion 5 1 Handle + 5 Cartridges</c:v>
                </c:pt>
                <c:pt idx="39">
                  <c:v>Gillette Sensor 3 Sensitive Disposable Razors 8 Pack</c:v>
                </c:pt>
                <c:pt idx="40">
                  <c:v>Gillette Fusion 5 1 Handle + 7 Cartridges</c:v>
                </c:pt>
                <c:pt idx="41">
                  <c:v>Dollar Shave Club 6 Blades Blade Refills 8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Schick Hydro 5 Blade Sensitive Refills 12 Pack</c:v>
                </c:pt>
                <c:pt idx="53">
                  <c:v>Equate Easy Fit 5 Blade Refills 12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18857407323825393</c:v>
                </c:pt>
                <c:pt idx="1">
                  <c:v>0.11381524555014499</c:v>
                </c:pt>
                <c:pt idx="2">
                  <c:v>0.10120522330340664</c:v>
                </c:pt>
                <c:pt idx="3">
                  <c:v>0.10101232746655396</c:v>
                </c:pt>
                <c:pt idx="4">
                  <c:v>8.7153057655384836E-2</c:v>
                </c:pt>
                <c:pt idx="5">
                  <c:v>5.7126515150199772E-2</c:v>
                </c:pt>
                <c:pt idx="6">
                  <c:v>5.5220695269060149E-2</c:v>
                </c:pt>
                <c:pt idx="7">
                  <c:v>5.410667934810022E-2</c:v>
                </c:pt>
                <c:pt idx="8">
                  <c:v>5.4049426334668908E-2</c:v>
                </c:pt>
                <c:pt idx="9">
                  <c:v>4.795449836926792E-2</c:v>
                </c:pt>
                <c:pt idx="10">
                  <c:v>4.3618712560192965E-2</c:v>
                </c:pt>
                <c:pt idx="11">
                  <c:v>4.3019064358021677E-2</c:v>
                </c:pt>
                <c:pt idx="12">
                  <c:v>3.8709407700764926E-2</c:v>
                </c:pt>
                <c:pt idx="13">
                  <c:v>3.799494292907879E-2</c:v>
                </c:pt>
                <c:pt idx="14">
                  <c:v>3.6612338955632394E-2</c:v>
                </c:pt>
                <c:pt idx="15">
                  <c:v>3.5291463119875882E-2</c:v>
                </c:pt>
                <c:pt idx="16">
                  <c:v>3.4623177588908115E-2</c:v>
                </c:pt>
                <c:pt idx="17">
                  <c:v>3.0285687906367539E-2</c:v>
                </c:pt>
                <c:pt idx="18">
                  <c:v>2.7666408858589859E-2</c:v>
                </c:pt>
                <c:pt idx="19">
                  <c:v>2.7412764744553279E-2</c:v>
                </c:pt>
                <c:pt idx="20">
                  <c:v>2.645198741958139E-2</c:v>
                </c:pt>
                <c:pt idx="21">
                  <c:v>2.616708444306624E-2</c:v>
                </c:pt>
                <c:pt idx="22">
                  <c:v>2.5999585875762812E-2</c:v>
                </c:pt>
                <c:pt idx="23">
                  <c:v>2.5598331313020369E-2</c:v>
                </c:pt>
                <c:pt idx="24">
                  <c:v>2.5277695887232794E-2</c:v>
                </c:pt>
                <c:pt idx="25">
                  <c:v>2.3017619680743069E-2</c:v>
                </c:pt>
                <c:pt idx="26">
                  <c:v>2.2008591800068894E-2</c:v>
                </c:pt>
                <c:pt idx="27">
                  <c:v>2.1834333363008981E-2</c:v>
                </c:pt>
                <c:pt idx="28">
                  <c:v>2.1435768283141084E-2</c:v>
                </c:pt>
                <c:pt idx="29">
                  <c:v>2.1305618474973004E-2</c:v>
                </c:pt>
                <c:pt idx="30">
                  <c:v>2.1091432505975123E-2</c:v>
                </c:pt>
                <c:pt idx="31">
                  <c:v>2.0504073267481524E-2</c:v>
                </c:pt>
                <c:pt idx="32">
                  <c:v>2.0499257449369052E-2</c:v>
                </c:pt>
                <c:pt idx="33">
                  <c:v>2.0081177815975827E-2</c:v>
                </c:pt>
                <c:pt idx="34">
                  <c:v>1.9190252244563295E-2</c:v>
                </c:pt>
                <c:pt idx="35">
                  <c:v>1.9153893849731533E-2</c:v>
                </c:pt>
                <c:pt idx="36">
                  <c:v>1.8931193823205756E-2</c:v>
                </c:pt>
                <c:pt idx="37">
                  <c:v>1.8795821359222073E-2</c:v>
                </c:pt>
                <c:pt idx="38">
                  <c:v>1.8448694778280258E-2</c:v>
                </c:pt>
                <c:pt idx="39">
                  <c:v>1.837461836852013E-2</c:v>
                </c:pt>
                <c:pt idx="40">
                  <c:v>1.817183193715113E-2</c:v>
                </c:pt>
                <c:pt idx="41">
                  <c:v>1.7304328975310101E-2</c:v>
                </c:pt>
                <c:pt idx="42">
                  <c:v>1.6936963392278719E-2</c:v>
                </c:pt>
                <c:pt idx="43">
                  <c:v>1.6933321363220514E-2</c:v>
                </c:pt>
                <c:pt idx="44">
                  <c:v>1.6431930524278677E-2</c:v>
                </c:pt>
                <c:pt idx="45">
                  <c:v>1.6249015174733723E-2</c:v>
                </c:pt>
                <c:pt idx="46">
                  <c:v>1.6099034684080082E-2</c:v>
                </c:pt>
                <c:pt idx="47">
                  <c:v>1.600901048575834E-2</c:v>
                </c:pt>
                <c:pt idx="48">
                  <c:v>1.5953754921527282E-2</c:v>
                </c:pt>
                <c:pt idx="49">
                  <c:v>1.5585270843262595E-2</c:v>
                </c:pt>
                <c:pt idx="50">
                  <c:v>1.4179883862683601E-2</c:v>
                </c:pt>
                <c:pt idx="51">
                  <c:v>1.3936415137639449E-2</c:v>
                </c:pt>
                <c:pt idx="52">
                  <c:v>1.3461278452601411E-2</c:v>
                </c:pt>
                <c:pt idx="53">
                  <c:v>1.3366886236464542E-2</c:v>
                </c:pt>
                <c:pt idx="54">
                  <c:v>1.3233296903957352E-2</c:v>
                </c:pt>
                <c:pt idx="55">
                  <c:v>1.2914387491780414E-2</c:v>
                </c:pt>
                <c:pt idx="56">
                  <c:v>1.2721142666597515E-2</c:v>
                </c:pt>
                <c:pt idx="57">
                  <c:v>1.2624723442133645E-2</c:v>
                </c:pt>
                <c:pt idx="58">
                  <c:v>1.2073138761508168E-2</c:v>
                </c:pt>
                <c:pt idx="59">
                  <c:v>1.0800298716550184E-2</c:v>
                </c:pt>
                <c:pt idx="60">
                  <c:v>1.0294261398762345E-2</c:v>
                </c:pt>
                <c:pt idx="61">
                  <c:v>9.2527042844053227E-3</c:v>
                </c:pt>
                <c:pt idx="62">
                  <c:v>9.0888644694299466E-3</c:v>
                </c:pt>
                <c:pt idx="63">
                  <c:v>9.0795435988931111E-3</c:v>
                </c:pt>
                <c:pt idx="64">
                  <c:v>9.0284293743418814E-3</c:v>
                </c:pt>
                <c:pt idx="65">
                  <c:v>8.6515404906997856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quate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quate 5 Blades Blade Refills 4 Pack @7.97</c:v>
                </c:pt>
              </c:strCache>
            </c:strRef>
          </c:cat>
          <c:val>
            <c:numRef>
              <c:f>Sheet1!$B$2:$B$2</c:f>
              <c:numCache>
                <c:formatCode>General</c:formatCode>
                <c:ptCount val="1"/>
                <c:pt idx="0">
                  <c:v>129.06633019977497</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quate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quate 5 Blades Blade Refills 4 Pack @7.97</c:v>
                </c:pt>
              </c:strCache>
            </c:strRef>
          </c:cat>
          <c:val>
            <c:numRef>
              <c:f>Sheet1!$C$2:$C$2</c:f>
              <c:numCache>
                <c:formatCode>General</c:formatCode>
                <c:ptCount val="1"/>
                <c:pt idx="0">
                  <c:v>120.1982142043484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quate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quate 5 Blades Blade Refills 4 Pack @7.97</c:v>
                </c:pt>
              </c:strCache>
            </c:strRef>
          </c:cat>
          <c:val>
            <c:numRef>
              <c:f>Sheet1!$D$2:$D$2</c:f>
              <c:numCache>
                <c:formatCode>General</c:formatCode>
                <c:ptCount val="1"/>
                <c:pt idx="0">
                  <c:v>120.8531760064385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5 Blades Blade Refills 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rry's Men Five Blade Refills 4 Pack</c:v>
                </c:pt>
                <c:pt idx="1">
                  <c:v>Harry's Men Five Blade Refills 8 Pack</c:v>
                </c:pt>
                <c:pt idx="2">
                  <c:v>Gillette Mach 3 Blade Refills 4 Pack</c:v>
                </c:pt>
                <c:pt idx="3">
                  <c:v>Gillette Fusion 5 Proglide Blade Refills 4 Pack</c:v>
                </c:pt>
                <c:pt idx="4">
                  <c:v>Gillette Fusion 5 Blade Refills 4 Pack</c:v>
                </c:pt>
                <c:pt idx="5">
                  <c:v>Harry's Men Five Blade Refills 12 Pack</c:v>
                </c:pt>
                <c:pt idx="6">
                  <c:v>Equate Easy Fit 5 Blade Refills 4 Pack</c:v>
                </c:pt>
                <c:pt idx="7">
                  <c:v>Dollar Shave Club 6 Blades Blade Refills 4 Pack</c:v>
                </c:pt>
                <c:pt idx="8">
                  <c:v>Gillette Fusion 5 Proglide Blade Refills 8 Pack</c:v>
                </c:pt>
                <c:pt idx="9">
                  <c:v>Van Der Hagen Men Double Edge Blade Refills 10 Pack</c:v>
                </c:pt>
                <c:pt idx="10">
                  <c:v>Gillette Mach 3 Blade Refills 8 Pack</c:v>
                </c:pt>
              </c:strCache>
            </c:strRef>
          </c:cat>
          <c:val>
            <c:numRef>
              <c:f>Sheet1!$B$2:$B$12</c:f>
              <c:numCache>
                <c:formatCode>General</c:formatCode>
                <c:ptCount val="11"/>
                <c:pt idx="0">
                  <c:v>0.42533621186980342</c:v>
                </c:pt>
                <c:pt idx="1">
                  <c:v>0.2594578505311218</c:v>
                </c:pt>
                <c:pt idx="2">
                  <c:v>4.7007875374688098E-2</c:v>
                </c:pt>
                <c:pt idx="3">
                  <c:v>4.1677405438929796E-2</c:v>
                </c:pt>
                <c:pt idx="4">
                  <c:v>3.976313331334741E-2</c:v>
                </c:pt>
                <c:pt idx="5">
                  <c:v>3.5480770950497079E-2</c:v>
                </c:pt>
                <c:pt idx="6">
                  <c:v>2.115368308585475E-2</c:v>
                </c:pt>
                <c:pt idx="7">
                  <c:v>2.0307621077997075E-2</c:v>
                </c:pt>
                <c:pt idx="8">
                  <c:v>1.7581569966187323E-2</c:v>
                </c:pt>
                <c:pt idx="9">
                  <c:v>1.7320780100670587E-2</c:v>
                </c:pt>
                <c:pt idx="10">
                  <c:v>1.5365754707723599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2 Blade Disposable Razors 2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7ECAC4"/>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006C6D"/>
              </a:solidFill>
            </c:spPr>
            <c:extLst>
              <c:ext xmlns:c16="http://schemas.microsoft.com/office/drawing/2014/chart" uri="{C3380CC4-5D6E-409C-BE32-E72D297353CC}">
                <c16:uniqueId val="{0000001E-7980-4C82-8C1C-32D5A7B4E44B}"/>
              </c:ext>
            </c:extLst>
          </c:dPt>
          <c:dPt>
            <c:idx val="17"/>
            <c:invertIfNegative val="0"/>
            <c:bubble3D val="0"/>
            <c:spPr>
              <a:solidFill>
                <a:srgbClr val="7ECAC4"/>
              </a:solidFill>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7ECAC4"/>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r>
                      <a:rPr lang="en-US" sz="500">
                        <a:solidFill>
                          <a:srgbClr val="006C6D"/>
                        </a:solidFill>
                      </a:rPr>
                      <a:t>Equate 2 Blade Disposable Razor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Bic Men Sensitive Single Blade Disposable Razors 12 Pack</c:v>
                </c:pt>
                <c:pt idx="7">
                  <c:v>Equate Easy Fit 5 Blade Refills 4 Pack</c:v>
                </c:pt>
                <c:pt idx="8">
                  <c:v>Equate 2 Blade Disposable Razors 5 Pack</c:v>
                </c:pt>
                <c:pt idx="9">
                  <c:v>Dollar Shave Club 6 Blades Blade Refills 4 Pack</c:v>
                </c:pt>
                <c:pt idx="10">
                  <c:v>Equate 2 Blade Disposable Razors 12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Equate 2 Blade Disposable Razors 20 Pack</c:v>
                </c:pt>
                <c:pt idx="17">
                  <c:v>Schick Hydro 5 Blade Sensitive Refills 6 Pack</c:v>
                </c:pt>
                <c:pt idx="18">
                  <c:v>Harry's Men Five Blade Refills 12 Pack</c:v>
                </c:pt>
                <c:pt idx="19">
                  <c:v>Gillette Fusion 5 Blade Refills 12 Pack</c:v>
                </c:pt>
                <c:pt idx="20">
                  <c:v>Gillette Fusion 5 Proglide Blade Refills 12 Pack</c:v>
                </c:pt>
                <c:pt idx="21">
                  <c:v>Gillette Fusion 5 1 Handle + 2 Cartridges</c:v>
                </c:pt>
                <c:pt idx="22">
                  <c:v>Schick Xtreme 3 Sensitive Disposable Razors 4 Pack</c:v>
                </c:pt>
                <c:pt idx="23">
                  <c:v>Gillette Mach 3 1 Handle + 2 Cartridges</c:v>
                </c:pt>
                <c:pt idx="24">
                  <c:v>Schick Xtreme 2 Sensitive Disposable Razors 12 Pack</c:v>
                </c:pt>
                <c:pt idx="25">
                  <c:v>Harry's 5 Blade 1 Handle + 5 Cartridges</c:v>
                </c:pt>
                <c:pt idx="26">
                  <c:v>Gillette Sensor 3 Sensitive Disposable Razors 4 Pack</c:v>
                </c:pt>
                <c:pt idx="27">
                  <c:v>Gillette Mach 3 Sensitive Skin Disposable Razors 3 Pack</c:v>
                </c:pt>
                <c:pt idx="28">
                  <c:v>Gillette Sensor 2 Pivot Head Disposable Razors 12 Pack</c:v>
                </c:pt>
                <c:pt idx="29">
                  <c:v>Equate Easy Fit 5 Blade Refills 8 Pack</c:v>
                </c:pt>
                <c:pt idx="30">
                  <c:v>Equate Speed 3 Disposable Razors 4 Pack</c:v>
                </c:pt>
                <c:pt idx="31">
                  <c:v>Bic 3 Sensitive Disposable Razors 5 Pack</c:v>
                </c:pt>
                <c:pt idx="32">
                  <c:v>Gillette Sensor 2 Plus Disposable Razors 10 Pack</c:v>
                </c:pt>
                <c:pt idx="33">
                  <c:v>Equate Caliber 5 Disposable Razors 3 Pack</c:v>
                </c:pt>
                <c:pt idx="34">
                  <c:v>Dollar Shave Club 6 1 Handle + 2 Blades</c:v>
                </c:pt>
                <c:pt idx="35">
                  <c:v>Gillette Sensor 3 Disposable Razors 12 Pack</c:v>
                </c:pt>
                <c:pt idx="36">
                  <c:v>Gillette Fusion 5 1 Handle + 5 Cartridges</c:v>
                </c:pt>
                <c:pt idx="37">
                  <c:v>Equate Speed 3 Disposable Razors 8 Pack</c:v>
                </c:pt>
                <c:pt idx="38">
                  <c:v>Gillette Sensor 3 Sensitive Disposable Razors 8 Pack</c:v>
                </c:pt>
                <c:pt idx="39">
                  <c:v>Gillette Fusion 5 1 Handle + 7 Cartridges</c:v>
                </c:pt>
                <c:pt idx="40">
                  <c:v>Bic Comfort 3 Sensitive Skin Disposable Razors 4 Pack</c:v>
                </c:pt>
                <c:pt idx="41">
                  <c:v>Dollar Shave Club 6 Blades Blade Refills 8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Gillette Fusion 5 1 Handle + 3 Cartridges Holiday Pack</c:v>
                </c:pt>
                <c:pt idx="48">
                  <c:v>Bic Flex 4 Sensitive Skin Disposable Razors 3 Pack</c:v>
                </c:pt>
                <c:pt idx="49">
                  <c:v>Gillette Fusion 5 Proglide 1 Handle + 4 Cartridges</c:v>
                </c:pt>
                <c:pt idx="50">
                  <c:v>Gillette Sensor 3 Disposable Razors 8 Pack</c:v>
                </c:pt>
                <c:pt idx="51">
                  <c:v>Schick Hydro 5 Blade Sensitive Refills 12 Pack</c:v>
                </c:pt>
                <c:pt idx="52">
                  <c:v>Equate Easy Fit 5 Blade Refills 12 Pack</c:v>
                </c:pt>
                <c:pt idx="53">
                  <c:v>Equate Caliber 3 Disposable Razors 3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384189733643537</c:v>
                </c:pt>
                <c:pt idx="1">
                  <c:v>0.11256349041034676</c:v>
                </c:pt>
                <c:pt idx="2">
                  <c:v>0.10293481577953711</c:v>
                </c:pt>
                <c:pt idx="3">
                  <c:v>0.10276767427375036</c:v>
                </c:pt>
                <c:pt idx="4">
                  <c:v>8.8698142796059268E-2</c:v>
                </c:pt>
                <c:pt idx="5">
                  <c:v>6.6466183624127817E-2</c:v>
                </c:pt>
                <c:pt idx="6">
                  <c:v>5.0892113781477573E-2</c:v>
                </c:pt>
                <c:pt idx="7">
                  <c:v>4.8260606733536909E-2</c:v>
                </c:pt>
                <c:pt idx="8">
                  <c:v>4.6483636365978298E-2</c:v>
                </c:pt>
                <c:pt idx="9">
                  <c:v>4.405270922199149E-2</c:v>
                </c:pt>
                <c:pt idx="10">
                  <c:v>4.3654914344505073E-2</c:v>
                </c:pt>
                <c:pt idx="11">
                  <c:v>4.3542929339148176E-2</c:v>
                </c:pt>
                <c:pt idx="12">
                  <c:v>3.9398039220274322E-2</c:v>
                </c:pt>
                <c:pt idx="13">
                  <c:v>3.7788228799246655E-2</c:v>
                </c:pt>
                <c:pt idx="14">
                  <c:v>3.5902868656891671E-2</c:v>
                </c:pt>
                <c:pt idx="15">
                  <c:v>3.5036642376503377E-2</c:v>
                </c:pt>
                <c:pt idx="16">
                  <c:v>3.4835089222486175E-2</c:v>
                </c:pt>
                <c:pt idx="17">
                  <c:v>3.0725156513925368E-2</c:v>
                </c:pt>
                <c:pt idx="18">
                  <c:v>2.88665474589536E-2</c:v>
                </c:pt>
                <c:pt idx="19">
                  <c:v>2.8167129567713015E-2</c:v>
                </c:pt>
                <c:pt idx="20">
                  <c:v>2.6928306922913588E-2</c:v>
                </c:pt>
                <c:pt idx="21">
                  <c:v>2.610297711845248E-2</c:v>
                </c:pt>
                <c:pt idx="22">
                  <c:v>2.5292292855317918E-2</c:v>
                </c:pt>
                <c:pt idx="23">
                  <c:v>2.5184640430925703E-2</c:v>
                </c:pt>
                <c:pt idx="24">
                  <c:v>2.5059597474707353E-2</c:v>
                </c:pt>
                <c:pt idx="25">
                  <c:v>2.2954636706948316E-2</c:v>
                </c:pt>
                <c:pt idx="26">
                  <c:v>2.1716384798531843E-2</c:v>
                </c:pt>
                <c:pt idx="27">
                  <c:v>2.1256234245497271E-2</c:v>
                </c:pt>
                <c:pt idx="28">
                  <c:v>2.0926410323524609E-2</c:v>
                </c:pt>
                <c:pt idx="29">
                  <c:v>2.0795421004279828E-2</c:v>
                </c:pt>
                <c:pt idx="30">
                  <c:v>2.078389032471022E-2</c:v>
                </c:pt>
                <c:pt idx="31">
                  <c:v>2.0408173764281102E-2</c:v>
                </c:pt>
                <c:pt idx="32">
                  <c:v>1.9905313494618226E-2</c:v>
                </c:pt>
                <c:pt idx="33">
                  <c:v>1.9620447602446509E-2</c:v>
                </c:pt>
                <c:pt idx="34">
                  <c:v>1.8986248127353361E-2</c:v>
                </c:pt>
                <c:pt idx="35">
                  <c:v>1.8904862492808504E-2</c:v>
                </c:pt>
                <c:pt idx="36">
                  <c:v>1.8418804185253164E-2</c:v>
                </c:pt>
                <c:pt idx="37">
                  <c:v>1.8355534585183176E-2</c:v>
                </c:pt>
                <c:pt idx="38">
                  <c:v>1.8220392230794944E-2</c:v>
                </c:pt>
                <c:pt idx="39">
                  <c:v>1.8152136040322699E-2</c:v>
                </c:pt>
                <c:pt idx="40">
                  <c:v>1.7942609931562794E-2</c:v>
                </c:pt>
                <c:pt idx="41">
                  <c:v>1.7540444507869936E-2</c:v>
                </c:pt>
                <c:pt idx="42">
                  <c:v>1.6902156375055592E-2</c:v>
                </c:pt>
                <c:pt idx="43">
                  <c:v>1.6813923724579717E-2</c:v>
                </c:pt>
                <c:pt idx="44">
                  <c:v>1.6282654843354616E-2</c:v>
                </c:pt>
                <c:pt idx="45">
                  <c:v>1.6098211674104013E-2</c:v>
                </c:pt>
                <c:pt idx="46">
                  <c:v>1.599082579965732E-2</c:v>
                </c:pt>
                <c:pt idx="47">
                  <c:v>1.5932787830783411E-2</c:v>
                </c:pt>
                <c:pt idx="48">
                  <c:v>1.5704432042088001E-2</c:v>
                </c:pt>
                <c:pt idx="49">
                  <c:v>1.5549832560284511E-2</c:v>
                </c:pt>
                <c:pt idx="50">
                  <c:v>1.4025344591377926E-2</c:v>
                </c:pt>
                <c:pt idx="51">
                  <c:v>1.3692837869397999E-2</c:v>
                </c:pt>
                <c:pt idx="52">
                  <c:v>1.3578177521787412E-2</c:v>
                </c:pt>
                <c:pt idx="53">
                  <c:v>1.3123158350749809E-2</c:v>
                </c:pt>
                <c:pt idx="54">
                  <c:v>1.2873314249497976E-2</c:v>
                </c:pt>
                <c:pt idx="55">
                  <c:v>1.2671076275750856E-2</c:v>
                </c:pt>
                <c:pt idx="56">
                  <c:v>1.2582469460652232E-2</c:v>
                </c:pt>
                <c:pt idx="57">
                  <c:v>1.2319154019985346E-2</c:v>
                </c:pt>
                <c:pt idx="58">
                  <c:v>1.1706784966429627E-2</c:v>
                </c:pt>
                <c:pt idx="59">
                  <c:v>1.0690701490452488E-2</c:v>
                </c:pt>
                <c:pt idx="60">
                  <c:v>1.0132022902397207E-2</c:v>
                </c:pt>
                <c:pt idx="61">
                  <c:v>9.218538048312833E-3</c:v>
                </c:pt>
                <c:pt idx="62">
                  <c:v>9.0380825856066511E-3</c:v>
                </c:pt>
                <c:pt idx="63">
                  <c:v>9.0161946859668787E-3</c:v>
                </c:pt>
                <c:pt idx="64">
                  <c:v>8.9192738656323628E-3</c:v>
                </c:pt>
                <c:pt idx="65">
                  <c:v>8.8034692749033253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Caliber 3 Disposable Razors 6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7ECAC4"/>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lang="en-US" sz="500">
                        <a:solidFill>
                          <a:srgbClr val="006C6D"/>
                        </a:solidFill>
                      </a:rPr>
                      <a:t>Equate Caliber 3 Disposable Razor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Gillette Mach 3 Sensitive Skin Disposable Razors 3 Pack</c:v>
                </c:pt>
                <c:pt idx="27">
                  <c:v>Bic 3 Sensitive Disposable Razors 5 Pack</c:v>
                </c:pt>
                <c:pt idx="28">
                  <c:v>Gillette Sensor 2 Pivot Head Disposable Razors 12 Pack</c:v>
                </c:pt>
                <c:pt idx="29">
                  <c:v>Equate Speed 3 Disposable Razors 4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Bic Comfort 3 Sensitive Skin Disposable Razors 4 Pack</c:v>
                </c:pt>
                <c:pt idx="36">
                  <c:v>Gillette Fusion 5 1 Handle + 5 Cartridges</c:v>
                </c:pt>
                <c:pt idx="37">
                  <c:v>Gillette Sensor 3 Sensitive Disposable Razors 8 Pack</c:v>
                </c:pt>
                <c:pt idx="38">
                  <c:v>Gillette Fusion 5 1 Handle + 7 Cartridges</c:v>
                </c:pt>
                <c:pt idx="39">
                  <c:v>Equate Speed 3 Disposable Razors 8 Pack</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Gillette Fusion 5 1 Handle + 3 Cartridges Holiday Pack</c:v>
                </c:pt>
                <c:pt idx="47">
                  <c:v>Bic Flex 4 Sensitive Skin Disposable Razors 3 Pack</c:v>
                </c:pt>
                <c:pt idx="48">
                  <c:v>Gillette Fusion 5 Proglide 1 Handle + 4 Cartridges</c:v>
                </c:pt>
                <c:pt idx="49">
                  <c:v>Gillette Sensor 3 Disposable Razors 8 Pack</c:v>
                </c:pt>
                <c:pt idx="50">
                  <c:v>Schick Hydro 5 Blade Sensitive Refills 12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Equate Caliber 3 Disposable Razors 6 Pack</c:v>
                </c:pt>
              </c:strCache>
            </c:strRef>
          </c:cat>
          <c:val>
            <c:numRef>
              <c:f>Sheet1!$B$2:$B$67</c:f>
              <c:numCache>
                <c:formatCode>General</c:formatCode>
                <c:ptCount val="66"/>
                <c:pt idx="0">
                  <c:v>0.20386126052493844</c:v>
                </c:pt>
                <c:pt idx="1">
                  <c:v>0.11347115629319381</c:v>
                </c:pt>
                <c:pt idx="2">
                  <c:v>0.10280181423721153</c:v>
                </c:pt>
                <c:pt idx="3">
                  <c:v>0.10253298285147136</c:v>
                </c:pt>
                <c:pt idx="4">
                  <c:v>8.8552698778268546E-2</c:v>
                </c:pt>
                <c:pt idx="5">
                  <c:v>6.6490335167847497E-2</c:v>
                </c:pt>
                <c:pt idx="6">
                  <c:v>5.4986074514104297E-2</c:v>
                </c:pt>
                <c:pt idx="7">
                  <c:v>5.3941535078886223E-2</c:v>
                </c:pt>
                <c:pt idx="8">
                  <c:v>5.3806928646233071E-2</c:v>
                </c:pt>
                <c:pt idx="9">
                  <c:v>4.8667051100799733E-2</c:v>
                </c:pt>
                <c:pt idx="10">
                  <c:v>4.4269984593863422E-2</c:v>
                </c:pt>
                <c:pt idx="11">
                  <c:v>4.3697837488390193E-2</c:v>
                </c:pt>
                <c:pt idx="12">
                  <c:v>3.9335079411322374E-2</c:v>
                </c:pt>
                <c:pt idx="13">
                  <c:v>3.7959072981540776E-2</c:v>
                </c:pt>
                <c:pt idx="14">
                  <c:v>3.5836004142990714E-2</c:v>
                </c:pt>
                <c:pt idx="15">
                  <c:v>3.4960279334039918E-2</c:v>
                </c:pt>
                <c:pt idx="16">
                  <c:v>3.0687979936009878E-2</c:v>
                </c:pt>
                <c:pt idx="17">
                  <c:v>2.8912303261100569E-2</c:v>
                </c:pt>
                <c:pt idx="18">
                  <c:v>2.8116831308920089E-2</c:v>
                </c:pt>
                <c:pt idx="19">
                  <c:v>2.6879484168052904E-2</c:v>
                </c:pt>
                <c:pt idx="20">
                  <c:v>2.6127831376469634E-2</c:v>
                </c:pt>
                <c:pt idx="21">
                  <c:v>2.5626948000963712E-2</c:v>
                </c:pt>
                <c:pt idx="22">
                  <c:v>2.5379960829247865E-2</c:v>
                </c:pt>
                <c:pt idx="23">
                  <c:v>2.5214947065844689E-2</c:v>
                </c:pt>
                <c:pt idx="24">
                  <c:v>2.2989874511891849E-2</c:v>
                </c:pt>
                <c:pt idx="25">
                  <c:v>2.1766093501951654E-2</c:v>
                </c:pt>
                <c:pt idx="26">
                  <c:v>2.1195928214745356E-2</c:v>
                </c:pt>
                <c:pt idx="27">
                  <c:v>2.114436829945009E-2</c:v>
                </c:pt>
                <c:pt idx="28">
                  <c:v>2.1007559402616581E-2</c:v>
                </c:pt>
                <c:pt idx="29">
                  <c:v>2.096159762878147E-2</c:v>
                </c:pt>
                <c:pt idx="30">
                  <c:v>2.0809600821726261E-2</c:v>
                </c:pt>
                <c:pt idx="31">
                  <c:v>1.9996040656814817E-2</c:v>
                </c:pt>
                <c:pt idx="32">
                  <c:v>1.997716246117049E-2</c:v>
                </c:pt>
                <c:pt idx="33">
                  <c:v>1.9123691199234565E-2</c:v>
                </c:pt>
                <c:pt idx="34">
                  <c:v>1.9031584520857393E-2</c:v>
                </c:pt>
                <c:pt idx="35">
                  <c:v>1.856551372345628E-2</c:v>
                </c:pt>
                <c:pt idx="36">
                  <c:v>1.8422807061528074E-2</c:v>
                </c:pt>
                <c:pt idx="37">
                  <c:v>1.8231334652956583E-2</c:v>
                </c:pt>
                <c:pt idx="38">
                  <c:v>1.8153418393738734E-2</c:v>
                </c:pt>
                <c:pt idx="39">
                  <c:v>1.799447182286713E-2</c:v>
                </c:pt>
                <c:pt idx="40">
                  <c:v>1.7565186746664754E-2</c:v>
                </c:pt>
                <c:pt idx="41">
                  <c:v>1.6893641121147097E-2</c:v>
                </c:pt>
                <c:pt idx="42">
                  <c:v>1.6836528810662655E-2</c:v>
                </c:pt>
                <c:pt idx="43">
                  <c:v>1.6263378282580673E-2</c:v>
                </c:pt>
                <c:pt idx="44">
                  <c:v>1.6126596677777133E-2</c:v>
                </c:pt>
                <c:pt idx="45">
                  <c:v>1.5986035670810483E-2</c:v>
                </c:pt>
                <c:pt idx="46">
                  <c:v>1.5916368969987618E-2</c:v>
                </c:pt>
                <c:pt idx="47">
                  <c:v>1.5846026932766426E-2</c:v>
                </c:pt>
                <c:pt idx="48">
                  <c:v>1.5559817092008661E-2</c:v>
                </c:pt>
                <c:pt idx="49">
                  <c:v>1.4069083310944013E-2</c:v>
                </c:pt>
                <c:pt idx="50">
                  <c:v>1.3669197862083555E-2</c:v>
                </c:pt>
                <c:pt idx="51">
                  <c:v>1.3596691502265255E-2</c:v>
                </c:pt>
                <c:pt idx="52">
                  <c:v>1.3572340414345392E-2</c:v>
                </c:pt>
                <c:pt idx="53">
                  <c:v>1.3149395030685693E-2</c:v>
                </c:pt>
                <c:pt idx="54">
                  <c:v>1.2840995060629906E-2</c:v>
                </c:pt>
                <c:pt idx="55">
                  <c:v>1.2625119928902685E-2</c:v>
                </c:pt>
                <c:pt idx="56">
                  <c:v>1.2522329113417746E-2</c:v>
                </c:pt>
                <c:pt idx="57">
                  <c:v>1.1943057475558762E-2</c:v>
                </c:pt>
                <c:pt idx="58">
                  <c:v>1.0740761830489515E-2</c:v>
                </c:pt>
                <c:pt idx="59">
                  <c:v>1.0189430729989206E-2</c:v>
                </c:pt>
                <c:pt idx="60">
                  <c:v>9.2441513522073873E-3</c:v>
                </c:pt>
                <c:pt idx="61">
                  <c:v>9.0319775651698467E-3</c:v>
                </c:pt>
                <c:pt idx="62">
                  <c:v>9.0062407663713036E-3</c:v>
                </c:pt>
                <c:pt idx="63">
                  <c:v>8.9802551730559874E-3</c:v>
                </c:pt>
                <c:pt idx="64">
                  <c:v>8.7817478499527604E-3</c:v>
                </c:pt>
                <c:pt idx="65">
                  <c:v>7.5562167640270076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Caliber 5 Disposable Razor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7ECAC4"/>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spPr>
              <a:solidFill>
                <a:srgbClr val="7ECAC4"/>
              </a:solidFill>
            </c:spPr>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lang="en-US" sz="500">
                        <a:solidFill>
                          <a:srgbClr val="006C6D"/>
                        </a:solidFill>
                      </a:rPr>
                      <a:t>Equate Caliber 5 Disposable Razor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Gillette Sensor 2 Plus Disposable Razors 10 Pack</c:v>
                </c:pt>
                <c:pt idx="32">
                  <c:v>Equate Caliber 5 Disposable Razors 3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Gillette Fusion 5 1 Handle + 3 Cartridges Holiday Pack</c:v>
                </c:pt>
                <c:pt idx="47">
                  <c:v>Bic Flex 4 Sensitive Skin Disposable Razors 3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Equate Caliber 5 Disposable Razors 6 Pack</c:v>
                </c:pt>
              </c:strCache>
            </c:strRef>
          </c:cat>
          <c:val>
            <c:numRef>
              <c:f>Sheet1!$B$2:$B$67</c:f>
              <c:numCache>
                <c:formatCode>General</c:formatCode>
                <c:ptCount val="66"/>
                <c:pt idx="0">
                  <c:v>0.20399010219049157</c:v>
                </c:pt>
                <c:pt idx="1">
                  <c:v>0.11352547918306831</c:v>
                </c:pt>
                <c:pt idx="2">
                  <c:v>0.10266516808474917</c:v>
                </c:pt>
                <c:pt idx="3">
                  <c:v>0.10260220914039468</c:v>
                </c:pt>
                <c:pt idx="4">
                  <c:v>8.8598412606146204E-2</c:v>
                </c:pt>
                <c:pt idx="5">
                  <c:v>6.653908914345566E-2</c:v>
                </c:pt>
                <c:pt idx="6">
                  <c:v>5.5096524730352557E-2</c:v>
                </c:pt>
                <c:pt idx="7">
                  <c:v>5.3983196892870712E-2</c:v>
                </c:pt>
                <c:pt idx="8">
                  <c:v>5.3808775069338524E-2</c:v>
                </c:pt>
                <c:pt idx="9">
                  <c:v>4.8353416970289415E-2</c:v>
                </c:pt>
                <c:pt idx="10">
                  <c:v>4.4297080638368139E-2</c:v>
                </c:pt>
                <c:pt idx="11">
                  <c:v>4.3751579064542974E-2</c:v>
                </c:pt>
                <c:pt idx="12">
                  <c:v>3.935299525414529E-2</c:v>
                </c:pt>
                <c:pt idx="13">
                  <c:v>3.7924313940790121E-2</c:v>
                </c:pt>
                <c:pt idx="14">
                  <c:v>3.5833568974493218E-2</c:v>
                </c:pt>
                <c:pt idx="15">
                  <c:v>3.5021999516617372E-2</c:v>
                </c:pt>
                <c:pt idx="16">
                  <c:v>3.0717491772472884E-2</c:v>
                </c:pt>
                <c:pt idx="17">
                  <c:v>2.8940670180281798E-2</c:v>
                </c:pt>
                <c:pt idx="18">
                  <c:v>2.8122449298956298E-2</c:v>
                </c:pt>
                <c:pt idx="19">
                  <c:v>2.6899614263893045E-2</c:v>
                </c:pt>
                <c:pt idx="20">
                  <c:v>2.5967956205077448E-2</c:v>
                </c:pt>
                <c:pt idx="21">
                  <c:v>2.5719604331923215E-2</c:v>
                </c:pt>
                <c:pt idx="22">
                  <c:v>2.5437670986943103E-2</c:v>
                </c:pt>
                <c:pt idx="23">
                  <c:v>2.5131118164285676E-2</c:v>
                </c:pt>
                <c:pt idx="24">
                  <c:v>2.2964143554019743E-2</c:v>
                </c:pt>
                <c:pt idx="25">
                  <c:v>2.1663648209988853E-2</c:v>
                </c:pt>
                <c:pt idx="26">
                  <c:v>2.1608063399050723E-2</c:v>
                </c:pt>
                <c:pt idx="27">
                  <c:v>2.1182064595922985E-2</c:v>
                </c:pt>
                <c:pt idx="28">
                  <c:v>2.1138491807265757E-2</c:v>
                </c:pt>
                <c:pt idx="29">
                  <c:v>2.0889935834181344E-2</c:v>
                </c:pt>
                <c:pt idx="30">
                  <c:v>2.0739486486803311E-2</c:v>
                </c:pt>
                <c:pt idx="31">
                  <c:v>1.9882521897617907E-2</c:v>
                </c:pt>
                <c:pt idx="32">
                  <c:v>1.9840941653394756E-2</c:v>
                </c:pt>
                <c:pt idx="33">
                  <c:v>1.9106340715443683E-2</c:v>
                </c:pt>
                <c:pt idx="34">
                  <c:v>1.8872389978709776E-2</c:v>
                </c:pt>
                <c:pt idx="35">
                  <c:v>1.8672768444706261E-2</c:v>
                </c:pt>
                <c:pt idx="36">
                  <c:v>1.8591485324166847E-2</c:v>
                </c:pt>
                <c:pt idx="37">
                  <c:v>1.8342409010978011E-2</c:v>
                </c:pt>
                <c:pt idx="38">
                  <c:v>1.8109938658541491E-2</c:v>
                </c:pt>
                <c:pt idx="39">
                  <c:v>1.8109730659429189E-2</c:v>
                </c:pt>
                <c:pt idx="40">
                  <c:v>1.7575285495960054E-2</c:v>
                </c:pt>
                <c:pt idx="41">
                  <c:v>1.6856823017600206E-2</c:v>
                </c:pt>
                <c:pt idx="42">
                  <c:v>1.6815586701766867E-2</c:v>
                </c:pt>
                <c:pt idx="43">
                  <c:v>1.6246456623624818E-2</c:v>
                </c:pt>
                <c:pt idx="44">
                  <c:v>1.6042269085767034E-2</c:v>
                </c:pt>
                <c:pt idx="45">
                  <c:v>1.5983966801518826E-2</c:v>
                </c:pt>
                <c:pt idx="46">
                  <c:v>1.581079243586744E-2</c:v>
                </c:pt>
                <c:pt idx="47">
                  <c:v>1.5809059474953997E-2</c:v>
                </c:pt>
                <c:pt idx="48">
                  <c:v>1.5525577652616616E-2</c:v>
                </c:pt>
                <c:pt idx="49">
                  <c:v>1.397861681633663E-2</c:v>
                </c:pt>
                <c:pt idx="50">
                  <c:v>1.3739550502183376E-2</c:v>
                </c:pt>
                <c:pt idx="51">
                  <c:v>1.3679597571664856E-2</c:v>
                </c:pt>
                <c:pt idx="52">
                  <c:v>1.3534268027540788E-2</c:v>
                </c:pt>
                <c:pt idx="53">
                  <c:v>1.2975407893370886E-2</c:v>
                </c:pt>
                <c:pt idx="54">
                  <c:v>1.2667904063845225E-2</c:v>
                </c:pt>
                <c:pt idx="55">
                  <c:v>1.2578890142057087E-2</c:v>
                </c:pt>
                <c:pt idx="56">
                  <c:v>1.2383859145178261E-2</c:v>
                </c:pt>
                <c:pt idx="57">
                  <c:v>1.1918293118662715E-2</c:v>
                </c:pt>
                <c:pt idx="58">
                  <c:v>1.065904998239813E-2</c:v>
                </c:pt>
                <c:pt idx="59">
                  <c:v>1.0175008318044904E-2</c:v>
                </c:pt>
                <c:pt idx="60">
                  <c:v>9.2258160633863044E-3</c:v>
                </c:pt>
                <c:pt idx="61">
                  <c:v>8.9776016468660919E-3</c:v>
                </c:pt>
                <c:pt idx="62">
                  <c:v>8.965891789529782E-3</c:v>
                </c:pt>
                <c:pt idx="63">
                  <c:v>8.9069365092432438E-3</c:v>
                </c:pt>
                <c:pt idx="64">
                  <c:v>8.7855153187333321E-3</c:v>
                </c:pt>
                <c:pt idx="65">
                  <c:v>8.1871289671145899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quate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quate 2 Blade Disposable Razors 20 Pack @3.47</c:v>
                </c:pt>
                <c:pt idx="1">
                  <c:v>Equate Caliber 3 Disposable Razors 6 Pack @6.47</c:v>
                </c:pt>
                <c:pt idx="2">
                  <c:v>Equate Caliber 5 Disposable Razors 6 Pack @8.37</c:v>
                </c:pt>
              </c:strCache>
            </c:strRef>
          </c:cat>
          <c:val>
            <c:numRef>
              <c:f>Sheet1!$B$2:$B$4</c:f>
              <c:numCache>
                <c:formatCode>General</c:formatCode>
                <c:ptCount val="3"/>
                <c:pt idx="0">
                  <c:v>103.84742679959609</c:v>
                </c:pt>
                <c:pt idx="1">
                  <c:v>101.34688663258618</c:v>
                </c:pt>
                <c:pt idx="2">
                  <c:v>102.0566841090445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quate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quate 2 Blade Disposable Razors 20 Pack @3.47</c:v>
                </c:pt>
                <c:pt idx="1">
                  <c:v>Equate Caliber 3 Disposable Razors 6 Pack @6.47</c:v>
                </c:pt>
                <c:pt idx="2">
                  <c:v>Equate Caliber 5 Disposable Razors 6 Pack @8.37</c:v>
                </c:pt>
              </c:strCache>
            </c:strRef>
          </c:cat>
          <c:val>
            <c:numRef>
              <c:f>Sheet1!$C$2:$C$4</c:f>
              <c:numCache>
                <c:formatCode>General</c:formatCode>
                <c:ptCount val="3"/>
                <c:pt idx="0">
                  <c:v>107.62180001515583</c:v>
                </c:pt>
                <c:pt idx="1">
                  <c:v>103.56125230307241</c:v>
                </c:pt>
                <c:pt idx="2">
                  <c:v>106.4982169517088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quate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quate 2 Blade Disposable Razors 20 Pack @3.47</c:v>
                </c:pt>
                <c:pt idx="1">
                  <c:v>Equate Caliber 3 Disposable Razors 6 Pack @6.47</c:v>
                </c:pt>
                <c:pt idx="2">
                  <c:v>Equate Caliber 5 Disposable Razors 6 Pack @8.37</c:v>
                </c:pt>
              </c:strCache>
            </c:strRef>
          </c:cat>
          <c:val>
            <c:numRef>
              <c:f>Sheet1!$D$2:$D$4</c:f>
              <c:numCache>
                <c:formatCode>General</c:formatCode>
                <c:ptCount val="3"/>
                <c:pt idx="0">
                  <c:v>90.517585402533655</c:v>
                </c:pt>
                <c:pt idx="1">
                  <c:v>103.42726845446104</c:v>
                </c:pt>
                <c:pt idx="2">
                  <c:v>107.47737499441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Four Blad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7ECAC4"/>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7ECAC4"/>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006C6D"/>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r>
                      <a:rPr lang="en-US" sz="500">
                        <a:solidFill>
                          <a:srgbClr val="006C6D"/>
                        </a:solidFill>
                      </a:rPr>
                      <a:t>Schick Quattro Four Blad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Bic Flex 4 Sensitive Skin Disposable Razors 3 Pack</c:v>
                </c:pt>
                <c:pt idx="47">
                  <c:v>Gillette Fusion 5 1 Handle + 3 Cartridges Holiday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Schick Quattro Four Blade Refills 6 Pack</c:v>
                </c:pt>
              </c:strCache>
            </c:strRef>
          </c:cat>
          <c:val>
            <c:numRef>
              <c:f>Sheet1!$B$2:$B$67</c:f>
              <c:numCache>
                <c:formatCode>General</c:formatCode>
                <c:ptCount val="66"/>
                <c:pt idx="0">
                  <c:v>0.20338278805366508</c:v>
                </c:pt>
                <c:pt idx="1">
                  <c:v>0.11381692950854114</c:v>
                </c:pt>
                <c:pt idx="2">
                  <c:v>0.10259223839987408</c:v>
                </c:pt>
                <c:pt idx="3">
                  <c:v>0.10239686271334472</c:v>
                </c:pt>
                <c:pt idx="4">
                  <c:v>8.8347201407874942E-2</c:v>
                </c:pt>
                <c:pt idx="5">
                  <c:v>6.6327951822056669E-2</c:v>
                </c:pt>
                <c:pt idx="6">
                  <c:v>5.5220899286084091E-2</c:v>
                </c:pt>
                <c:pt idx="7">
                  <c:v>5.4106825158015008E-2</c:v>
                </c:pt>
                <c:pt idx="8">
                  <c:v>5.4049684540939828E-2</c:v>
                </c:pt>
                <c:pt idx="9">
                  <c:v>4.861192192465668E-2</c:v>
                </c:pt>
                <c:pt idx="10">
                  <c:v>4.4218821849299567E-2</c:v>
                </c:pt>
                <c:pt idx="11">
                  <c:v>4.3609096772867083E-2</c:v>
                </c:pt>
                <c:pt idx="12">
                  <c:v>3.9239786790445021E-2</c:v>
                </c:pt>
                <c:pt idx="13">
                  <c:v>3.798986816662777E-2</c:v>
                </c:pt>
                <c:pt idx="14">
                  <c:v>3.5775570432438654E-2</c:v>
                </c:pt>
                <c:pt idx="15">
                  <c:v>3.5097691927171909E-2</c:v>
                </c:pt>
                <c:pt idx="16">
                  <c:v>3.0700706211196572E-2</c:v>
                </c:pt>
                <c:pt idx="17">
                  <c:v>2.8839976732903665E-2</c:v>
                </c:pt>
                <c:pt idx="18">
                  <c:v>2.8045478611536216E-2</c:v>
                </c:pt>
                <c:pt idx="19">
                  <c:v>2.6814394569364068E-2</c:v>
                </c:pt>
                <c:pt idx="20">
                  <c:v>2.6167380399026507E-2</c:v>
                </c:pt>
                <c:pt idx="21">
                  <c:v>2.5999703513135138E-2</c:v>
                </c:pt>
                <c:pt idx="22">
                  <c:v>2.5598372441058247E-2</c:v>
                </c:pt>
                <c:pt idx="23">
                  <c:v>2.5278088494842126E-2</c:v>
                </c:pt>
                <c:pt idx="24">
                  <c:v>2.3014339441218765E-2</c:v>
                </c:pt>
                <c:pt idx="25">
                  <c:v>2.2008818223320754E-2</c:v>
                </c:pt>
                <c:pt idx="26">
                  <c:v>2.1834403856540938E-2</c:v>
                </c:pt>
                <c:pt idx="27">
                  <c:v>2.14358748899545E-2</c:v>
                </c:pt>
                <c:pt idx="28">
                  <c:v>2.1305767098765187E-2</c:v>
                </c:pt>
                <c:pt idx="29">
                  <c:v>2.1091492331081787E-2</c:v>
                </c:pt>
                <c:pt idx="30">
                  <c:v>2.0780310763757311E-2</c:v>
                </c:pt>
                <c:pt idx="31">
                  <c:v>2.0504179655379508E-2</c:v>
                </c:pt>
                <c:pt idx="32">
                  <c:v>2.0081240624723603E-2</c:v>
                </c:pt>
                <c:pt idx="33">
                  <c:v>1.919135750659751E-2</c:v>
                </c:pt>
                <c:pt idx="34">
                  <c:v>1.9154022416710981E-2</c:v>
                </c:pt>
                <c:pt idx="35">
                  <c:v>1.8931220009451896E-2</c:v>
                </c:pt>
                <c:pt idx="36">
                  <c:v>1.8795964234193285E-2</c:v>
                </c:pt>
                <c:pt idx="37">
                  <c:v>1.8448826554381324E-2</c:v>
                </c:pt>
                <c:pt idx="38">
                  <c:v>1.8374788137555612E-2</c:v>
                </c:pt>
                <c:pt idx="39">
                  <c:v>1.8171927296408423E-2</c:v>
                </c:pt>
                <c:pt idx="40">
                  <c:v>1.7542382514232912E-2</c:v>
                </c:pt>
                <c:pt idx="41">
                  <c:v>1.6937059020613848E-2</c:v>
                </c:pt>
                <c:pt idx="42">
                  <c:v>1.6933462052213227E-2</c:v>
                </c:pt>
                <c:pt idx="43">
                  <c:v>1.6431988377147523E-2</c:v>
                </c:pt>
                <c:pt idx="44">
                  <c:v>1.624914992756208E-2</c:v>
                </c:pt>
                <c:pt idx="45">
                  <c:v>1.6099158274303787E-2</c:v>
                </c:pt>
                <c:pt idx="46">
                  <c:v>1.6009198680041224E-2</c:v>
                </c:pt>
                <c:pt idx="47">
                  <c:v>1.5953846925057868E-2</c:v>
                </c:pt>
                <c:pt idx="48">
                  <c:v>1.5585404088455629E-2</c:v>
                </c:pt>
                <c:pt idx="49">
                  <c:v>1.4180038753009466E-2</c:v>
                </c:pt>
                <c:pt idx="50">
                  <c:v>1.3936462667178859E-2</c:v>
                </c:pt>
                <c:pt idx="51">
                  <c:v>1.364571754154585E-2</c:v>
                </c:pt>
                <c:pt idx="52">
                  <c:v>1.355013352485147E-2</c:v>
                </c:pt>
                <c:pt idx="53">
                  <c:v>1.3233377405899936E-2</c:v>
                </c:pt>
                <c:pt idx="54">
                  <c:v>1.2914570843093477E-2</c:v>
                </c:pt>
                <c:pt idx="55">
                  <c:v>1.2721311033404207E-2</c:v>
                </c:pt>
                <c:pt idx="56">
                  <c:v>1.2624816566346743E-2</c:v>
                </c:pt>
                <c:pt idx="57">
                  <c:v>1.2073368025706039E-2</c:v>
                </c:pt>
                <c:pt idx="58">
                  <c:v>1.0800361523770893E-2</c:v>
                </c:pt>
                <c:pt idx="59">
                  <c:v>1.0294312021952669E-2</c:v>
                </c:pt>
                <c:pt idx="60">
                  <c:v>9.2530605863146119E-3</c:v>
                </c:pt>
                <c:pt idx="61">
                  <c:v>9.0889763363414065E-3</c:v>
                </c:pt>
                <c:pt idx="62">
                  <c:v>9.0796207271513635E-3</c:v>
                </c:pt>
                <c:pt idx="63">
                  <c:v>9.0284823798812038E-3</c:v>
                </c:pt>
                <c:pt idx="64">
                  <c:v>8.7701304811229723E-3</c:v>
                </c:pt>
                <c:pt idx="65">
                  <c:v>1.7108369557946174E-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2 Blade Disposable Razor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Equate 2 Blade Disposable Razors 12 Pack</c:v>
                </c:pt>
                <c:pt idx="1">
                  <c:v>Equate 2 Blade Disposable Razors 5 Pack</c:v>
                </c:pt>
                <c:pt idx="2">
                  <c:v>Equate Caliber 5 Disposable Razors 3 Pack</c:v>
                </c:pt>
                <c:pt idx="3">
                  <c:v>Equate Speed 3 Disposable Razors 4 Pack</c:v>
                </c:pt>
                <c:pt idx="4">
                  <c:v>Equate Speed 3 Disposable Razors 8 Pack</c:v>
                </c:pt>
                <c:pt idx="5">
                  <c:v>Bic Men Sensitive Single Blade Disposable Razors 12 Pack</c:v>
                </c:pt>
                <c:pt idx="6">
                  <c:v>None Razors</c:v>
                </c:pt>
                <c:pt idx="7">
                  <c:v>Schick Xtreme 3 Sensitive Disposable Razors 4 Pack</c:v>
                </c:pt>
                <c:pt idx="8">
                  <c:v>Equate Caliber 3 Disposable Razors 3 Pack</c:v>
                </c:pt>
                <c:pt idx="9">
                  <c:v>Gillette Sensor 3 Sensitive Disposable Razors 4 Pack</c:v>
                </c:pt>
                <c:pt idx="10">
                  <c:v>Bic Comfort 3 Sensitive Skin Disposable Razors 4 Pack</c:v>
                </c:pt>
              </c:strCache>
            </c:strRef>
          </c:cat>
          <c:val>
            <c:numRef>
              <c:f>Sheet1!$B$2:$B$12</c:f>
              <c:numCache>
                <c:formatCode>General</c:formatCode>
                <c:ptCount val="11"/>
                <c:pt idx="0">
                  <c:v>0.35527586130709027</c:v>
                </c:pt>
                <c:pt idx="1">
                  <c:v>0.22015852771407857</c:v>
                </c:pt>
                <c:pt idx="2">
                  <c:v>2.5198992812361251E-2</c:v>
                </c:pt>
                <c:pt idx="3">
                  <c:v>2.9130033735572748E-2</c:v>
                </c:pt>
                <c:pt idx="4">
                  <c:v>1.5502388160593555E-2</c:v>
                </c:pt>
                <c:pt idx="5">
                  <c:v>9.1532799448597796E-2</c:v>
                </c:pt>
                <c:pt idx="6">
                  <c:v>3.7290740388798538E-2</c:v>
                </c:pt>
                <c:pt idx="7">
                  <c:v>2.0060721578204366E-2</c:v>
                </c:pt>
                <c:pt idx="8">
                  <c:v>2.1795685073244229E-2</c:v>
                </c:pt>
                <c:pt idx="9">
                  <c:v>8.03616880024338E-3</c:v>
                </c:pt>
                <c:pt idx="10">
                  <c:v>2.423422043709085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Caliber 3 Disposable Razor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Equate 2 Blade Disposable Razors 12 Pack</c:v>
                </c:pt>
                <c:pt idx="1">
                  <c:v>Equate 2 Blade Disposable Razors 5 Pack</c:v>
                </c:pt>
                <c:pt idx="2">
                  <c:v>Equate Caliber 5 Disposable Razors 3 Pack</c:v>
                </c:pt>
                <c:pt idx="3">
                  <c:v>Equate Speed 3 Disposable Razors 4 Pack</c:v>
                </c:pt>
                <c:pt idx="4">
                  <c:v>Equate Speed 3 Disposable Razors 8 Pack</c:v>
                </c:pt>
                <c:pt idx="5">
                  <c:v>Bic Men Sensitive Single Blade Disposable Razors 12 Pack</c:v>
                </c:pt>
                <c:pt idx="6">
                  <c:v>None Razors</c:v>
                </c:pt>
                <c:pt idx="7">
                  <c:v>Schick Xtreme 3 Sensitive Disposable Razors 4 Pack</c:v>
                </c:pt>
                <c:pt idx="8">
                  <c:v>Equate Caliber 3 Disposable Razors 3 Pack</c:v>
                </c:pt>
                <c:pt idx="9">
                  <c:v>Gillette Sensor 3 Sensitive Disposable Razors 4 Pack</c:v>
                </c:pt>
                <c:pt idx="10">
                  <c:v>Bic Comfort 3 Sensitive Skin Disposable Razors 4 Pack</c:v>
                </c:pt>
              </c:strCache>
            </c:strRef>
          </c:cat>
          <c:val>
            <c:numRef>
              <c:f>Sheet1!$B$2:$B$12</c:f>
              <c:numCache>
                <c:formatCode>General</c:formatCode>
                <c:ptCount val="11"/>
                <c:pt idx="0">
                  <c:v>3.1044014304192718E-2</c:v>
                </c:pt>
                <c:pt idx="1">
                  <c:v>2.1869587855425258E-2</c:v>
                </c:pt>
                <c:pt idx="2">
                  <c:v>7.0954127452721727E-2</c:v>
                </c:pt>
                <c:pt idx="3">
                  <c:v>0.12081352547329455</c:v>
                </c:pt>
                <c:pt idx="4">
                  <c:v>0.122741884162038</c:v>
                </c:pt>
                <c:pt idx="5">
                  <c:v>3.3445783354430068E-2</c:v>
                </c:pt>
                <c:pt idx="6">
                  <c:v>5.0286762823180557E-2</c:v>
                </c:pt>
                <c:pt idx="7">
                  <c:v>5.2144278383846797E-2</c:v>
                </c:pt>
                <c:pt idx="8">
                  <c:v>4.4550224277225506E-2</c:v>
                </c:pt>
                <c:pt idx="9">
                  <c:v>3.296620739426525E-2</c:v>
                </c:pt>
                <c:pt idx="10">
                  <c:v>3.1891101001860649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Equate Caliber 5 Disposable Razor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Equate 2 Blade Disposable Razors 12 Pack</c:v>
                </c:pt>
                <c:pt idx="1">
                  <c:v>Equate 2 Blade Disposable Razors 5 Pack</c:v>
                </c:pt>
                <c:pt idx="2">
                  <c:v>Equate Caliber 5 Disposable Razors 3 Pack</c:v>
                </c:pt>
                <c:pt idx="3">
                  <c:v>Equate Speed 3 Disposable Razors 4 Pack</c:v>
                </c:pt>
                <c:pt idx="4">
                  <c:v>Equate Speed 3 Disposable Razors 8 Pack</c:v>
                </c:pt>
                <c:pt idx="5">
                  <c:v>Bic Men Sensitive Single Blade Disposable Razors 12 Pack</c:v>
                </c:pt>
                <c:pt idx="6">
                  <c:v>None Razors</c:v>
                </c:pt>
                <c:pt idx="7">
                  <c:v>Schick Xtreme 3 Sensitive Disposable Razors 4 Pack</c:v>
                </c:pt>
                <c:pt idx="8">
                  <c:v>Equate Caliber 3 Disposable Razors 3 Pack</c:v>
                </c:pt>
                <c:pt idx="9">
                  <c:v>Gillette Sensor 3 Sensitive Disposable Razors 4 Pack</c:v>
                </c:pt>
                <c:pt idx="10">
                  <c:v>Bic Comfort 3 Sensitive Skin Disposable Razors 4 Pack</c:v>
                </c:pt>
              </c:strCache>
            </c:strRef>
          </c:cat>
          <c:val>
            <c:numRef>
              <c:f>Sheet1!$B$2:$B$12</c:f>
              <c:numCache>
                <c:formatCode>General</c:formatCode>
                <c:ptCount val="11"/>
                <c:pt idx="0">
                  <c:v>1.5285762009644504E-2</c:v>
                </c:pt>
                <c:pt idx="1">
                  <c:v>1.528959519186251E-2</c:v>
                </c:pt>
                <c:pt idx="2">
                  <c:v>8.9446784030033227E-2</c:v>
                </c:pt>
                <c:pt idx="3">
                  <c:v>2.8861913933988407E-2</c:v>
                </c:pt>
                <c:pt idx="4">
                  <c:v>3.1102888868343111E-2</c:v>
                </c:pt>
                <c:pt idx="5">
                  <c:v>3.1036345937941582E-2</c:v>
                </c:pt>
                <c:pt idx="6">
                  <c:v>3.8110453134392278E-2</c:v>
                </c:pt>
                <c:pt idx="7">
                  <c:v>3.6883129261547375E-2</c:v>
                </c:pt>
                <c:pt idx="8">
                  <c:v>2.4119896793623061E-2</c:v>
                </c:pt>
                <c:pt idx="9">
                  <c:v>4.3771529176729364E-2</c:v>
                </c:pt>
                <c:pt idx="10">
                  <c:v>2.668308132015185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5 Blades 1 Handle + 2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006C6D"/>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r>
                      <a:rPr lang="en-US" sz="500">
                        <a:solidFill>
                          <a:srgbClr val="006C6D"/>
                        </a:solidFill>
                      </a:rPr>
                      <a:t>Equate 5 Blades 1 Handle + 2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Van Der Hagen Men Double Edge Blade Refills 10 Pack</c:v>
                </c:pt>
                <c:pt idx="11">
                  <c:v>Dollar Shave Club 6 Blades Blade Refills 4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Dollar Shave Club 6 1 Handle + 2 Blades</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Bic Flex 4 Sensitive Skin Disposable Razors 3 Pack</c:v>
                </c:pt>
                <c:pt idx="46">
                  <c:v>Gillette Fusion 5 1 Handle + 3 Cartridges Holiday Pack</c:v>
                </c:pt>
                <c:pt idx="47">
                  <c:v>Schick Hydro 3 Blade Ultra Sensitive 1 Handle + 4 Cartridges</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Bic Flex 5 Disposable Razors 4 Pack</c:v>
                </c:pt>
                <c:pt idx="55">
                  <c:v>Bic Comfort 3 Sensitive Skin Disposable Razors 8 Pack</c:v>
                </c:pt>
                <c:pt idx="56">
                  <c:v>Equate Easy Fit 5 blades 1 Handle + 2 Cartridges</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Equate 5 Blades 1 Handle + 2 Cartridges</c:v>
                </c:pt>
              </c:strCache>
            </c:strRef>
          </c:cat>
          <c:val>
            <c:numRef>
              <c:f>Sheet1!$B$2:$B$67</c:f>
              <c:numCache>
                <c:formatCode>General</c:formatCode>
                <c:ptCount val="66"/>
                <c:pt idx="0">
                  <c:v>0.20354791620655321</c:v>
                </c:pt>
                <c:pt idx="1">
                  <c:v>0.11337466477624257</c:v>
                </c:pt>
                <c:pt idx="2">
                  <c:v>0.10310793521938059</c:v>
                </c:pt>
                <c:pt idx="3">
                  <c:v>0.10276211421037582</c:v>
                </c:pt>
                <c:pt idx="4">
                  <c:v>8.9002666174731598E-2</c:v>
                </c:pt>
                <c:pt idx="5">
                  <c:v>6.646719779566429E-2</c:v>
                </c:pt>
                <c:pt idx="6">
                  <c:v>5.4783519441347933E-2</c:v>
                </c:pt>
                <c:pt idx="7">
                  <c:v>5.3867783779519181E-2</c:v>
                </c:pt>
                <c:pt idx="8">
                  <c:v>5.3826484933400816E-2</c:v>
                </c:pt>
                <c:pt idx="9">
                  <c:v>4.8291356304761043E-2</c:v>
                </c:pt>
                <c:pt idx="10">
                  <c:v>4.3914242960407392E-2</c:v>
                </c:pt>
                <c:pt idx="11">
                  <c:v>4.3585146952201163E-2</c:v>
                </c:pt>
                <c:pt idx="12">
                  <c:v>3.9534190893810044E-2</c:v>
                </c:pt>
                <c:pt idx="13">
                  <c:v>3.7588478289928666E-2</c:v>
                </c:pt>
                <c:pt idx="14">
                  <c:v>3.5851147993042003E-2</c:v>
                </c:pt>
                <c:pt idx="15">
                  <c:v>3.4816045631938367E-2</c:v>
                </c:pt>
                <c:pt idx="16">
                  <c:v>3.066425696663223E-2</c:v>
                </c:pt>
                <c:pt idx="17">
                  <c:v>2.8988822196941409E-2</c:v>
                </c:pt>
                <c:pt idx="18">
                  <c:v>2.8260275856054645E-2</c:v>
                </c:pt>
                <c:pt idx="19">
                  <c:v>2.7029490557416078E-2</c:v>
                </c:pt>
                <c:pt idx="20">
                  <c:v>2.5975909939234914E-2</c:v>
                </c:pt>
                <c:pt idx="21">
                  <c:v>2.5812742011858864E-2</c:v>
                </c:pt>
                <c:pt idx="22">
                  <c:v>2.5413906115082215E-2</c:v>
                </c:pt>
                <c:pt idx="23">
                  <c:v>2.4927848499283617E-2</c:v>
                </c:pt>
                <c:pt idx="24">
                  <c:v>2.2749438254679125E-2</c:v>
                </c:pt>
                <c:pt idx="25">
                  <c:v>2.1914309366087011E-2</c:v>
                </c:pt>
                <c:pt idx="26">
                  <c:v>2.1647423292341515E-2</c:v>
                </c:pt>
                <c:pt idx="27">
                  <c:v>2.1352954182723632E-2</c:v>
                </c:pt>
                <c:pt idx="28">
                  <c:v>2.1158571114835784E-2</c:v>
                </c:pt>
                <c:pt idx="29">
                  <c:v>2.1038520843994032E-2</c:v>
                </c:pt>
                <c:pt idx="30">
                  <c:v>2.0716139001799826E-2</c:v>
                </c:pt>
                <c:pt idx="31">
                  <c:v>2.0268942276661581E-2</c:v>
                </c:pt>
                <c:pt idx="32">
                  <c:v>2.0002000220682707E-2</c:v>
                </c:pt>
                <c:pt idx="33">
                  <c:v>1.9093055773092529E-2</c:v>
                </c:pt>
                <c:pt idx="34">
                  <c:v>1.8858965383009754E-2</c:v>
                </c:pt>
                <c:pt idx="35">
                  <c:v>1.8702089040838098E-2</c:v>
                </c:pt>
                <c:pt idx="36">
                  <c:v>1.8680956694850918E-2</c:v>
                </c:pt>
                <c:pt idx="37">
                  <c:v>1.8352246115481242E-2</c:v>
                </c:pt>
                <c:pt idx="38">
                  <c:v>1.8310688736254827E-2</c:v>
                </c:pt>
                <c:pt idx="39">
                  <c:v>1.811810261295705E-2</c:v>
                </c:pt>
                <c:pt idx="40">
                  <c:v>1.7393253697350234E-2</c:v>
                </c:pt>
                <c:pt idx="41">
                  <c:v>1.6798253070021099E-2</c:v>
                </c:pt>
                <c:pt idx="42">
                  <c:v>1.6611424301603898E-2</c:v>
                </c:pt>
                <c:pt idx="43">
                  <c:v>1.6346197914314312E-2</c:v>
                </c:pt>
                <c:pt idx="44">
                  <c:v>1.6195276960027635E-2</c:v>
                </c:pt>
                <c:pt idx="45">
                  <c:v>1.5908536691063943E-2</c:v>
                </c:pt>
                <c:pt idx="46">
                  <c:v>1.5848473376054138E-2</c:v>
                </c:pt>
                <c:pt idx="47">
                  <c:v>1.5748842115853701E-2</c:v>
                </c:pt>
                <c:pt idx="48">
                  <c:v>1.5502122844095287E-2</c:v>
                </c:pt>
                <c:pt idx="49">
                  <c:v>1.4120454415068491E-2</c:v>
                </c:pt>
                <c:pt idx="50">
                  <c:v>1.3809349086422496E-2</c:v>
                </c:pt>
                <c:pt idx="51">
                  <c:v>1.3708500589470709E-2</c:v>
                </c:pt>
                <c:pt idx="52">
                  <c:v>1.3550862645390216E-2</c:v>
                </c:pt>
                <c:pt idx="53">
                  <c:v>1.3180941231811143E-2</c:v>
                </c:pt>
                <c:pt idx="54">
                  <c:v>1.2673534902720497E-2</c:v>
                </c:pt>
                <c:pt idx="55">
                  <c:v>1.2573874847302151E-2</c:v>
                </c:pt>
                <c:pt idx="56">
                  <c:v>1.24690157093575E-2</c:v>
                </c:pt>
                <c:pt idx="57">
                  <c:v>1.1987242147357201E-2</c:v>
                </c:pt>
                <c:pt idx="58">
                  <c:v>1.0749021200109824E-2</c:v>
                </c:pt>
                <c:pt idx="59">
                  <c:v>1.0239795640634073E-2</c:v>
                </c:pt>
                <c:pt idx="60">
                  <c:v>9.1851030999641533E-3</c:v>
                </c:pt>
                <c:pt idx="61">
                  <c:v>9.0466804942137859E-3</c:v>
                </c:pt>
                <c:pt idx="62">
                  <c:v>9.0271329467123511E-3</c:v>
                </c:pt>
                <c:pt idx="63">
                  <c:v>8.9853943200707172E-3</c:v>
                </c:pt>
                <c:pt idx="64">
                  <c:v>8.8084381460791263E-3</c:v>
                </c:pt>
                <c:pt idx="65">
                  <c:v>7.1737309908330047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Easy Fit 5 blades 1 Handle + 5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7ECAC4"/>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lang="en-US" sz="500">
                        <a:solidFill>
                          <a:srgbClr val="006C6D"/>
                        </a:solidFill>
                      </a:rPr>
                      <a:t>Equate Easy Fit 5 blades 1 Handle + 5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Mach 3 Blade Refills 4 Pack</c:v>
                </c:pt>
                <c:pt idx="3">
                  <c:v>Gillette Fusion 5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Schick Xtreme 3 Sensitive Disposable Razors 4 Pack</c:v>
                </c:pt>
                <c:pt idx="21">
                  <c:v>Gillette Fusion 5 1 Handle + 2 Cartridges</c:v>
                </c:pt>
                <c:pt idx="22">
                  <c:v>Schick Xtreme 2 Sensitive Disposable Razors 12 Pack</c:v>
                </c:pt>
                <c:pt idx="23">
                  <c:v>Gillette Mach 3 1 Handle + 2 Cartridges</c:v>
                </c:pt>
                <c:pt idx="24">
                  <c:v>Harry's 5 Blade 1 Handle + 5 Cartridges</c:v>
                </c:pt>
                <c:pt idx="25">
                  <c:v>Equate Easy Fit 5 Blade Refills 8 Pack</c:v>
                </c:pt>
                <c:pt idx="26">
                  <c:v>Gillette Sensor 3 Sensitive Disposable Razors 4 Pack</c:v>
                </c:pt>
                <c:pt idx="27">
                  <c:v>Equate Speed 3 Disposable Razors 4 Pack</c:v>
                </c:pt>
                <c:pt idx="28">
                  <c:v>Gillette Mach 3 Sensitive Skin Disposable Razors 3 Pack</c:v>
                </c:pt>
                <c:pt idx="29">
                  <c:v>Bic 3 Sensitive Disposable Razors 5 Pack</c:v>
                </c:pt>
                <c:pt idx="30">
                  <c:v>Gillette Sensor 2 Pivot Head Disposable Razors 12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Bic Flex 4 Sensitive Skin Disposable Razors 3 Pack</c:v>
                </c:pt>
                <c:pt idx="46">
                  <c:v>Schick Hydro 3 Blade Ultra Sensitive 1 Handle + 4 Cartridges</c:v>
                </c:pt>
                <c:pt idx="47">
                  <c:v>Gillette Fusion 5 1 Handle + 3 Cartridges Holiday Pack</c:v>
                </c:pt>
                <c:pt idx="48">
                  <c:v>Gillette Fusion 5 Proglide 1 Handle + 4 Cartridges</c:v>
                </c:pt>
                <c:pt idx="49">
                  <c:v>Equate Easy Fit 5 Blade Refills 12 Pack</c:v>
                </c:pt>
                <c:pt idx="50">
                  <c:v>Gillette Sensor 3 Disposable Razors 8 Pack</c:v>
                </c:pt>
                <c:pt idx="51">
                  <c:v>Equate Caliber 3 Disposable Razors 3 Pack</c:v>
                </c:pt>
                <c:pt idx="52">
                  <c:v>Schick Hydro 5 Blade Sensitive Refills 12 Pack</c:v>
                </c:pt>
                <c:pt idx="53">
                  <c:v>Bic Men Sensitive Twin Blade Disposable Razors 10 Pack</c:v>
                </c:pt>
                <c:pt idx="54">
                  <c:v>Bic Flex 5 Disposable Razors 4 Pack</c:v>
                </c:pt>
                <c:pt idx="55">
                  <c:v>Bic Comfort 3 Sensitive Skin Disposable Razors 8 Pack</c:v>
                </c:pt>
                <c:pt idx="56">
                  <c:v>Equate Easy Fit 5 blades 1 Handle + 2 Cartridges</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Equate Easy Fit 5 blades 1 Handle + 5 Cartridges</c:v>
                </c:pt>
              </c:strCache>
            </c:strRef>
          </c:cat>
          <c:val>
            <c:numRef>
              <c:f>Sheet1!$B$2:$B$67</c:f>
              <c:numCache>
                <c:formatCode>General</c:formatCode>
                <c:ptCount val="66"/>
                <c:pt idx="0">
                  <c:v>0.20299561541359665</c:v>
                </c:pt>
                <c:pt idx="1">
                  <c:v>0.11310870106283692</c:v>
                </c:pt>
                <c:pt idx="2">
                  <c:v>0.10206810708958551</c:v>
                </c:pt>
                <c:pt idx="3">
                  <c:v>0.10149417695372059</c:v>
                </c:pt>
                <c:pt idx="4">
                  <c:v>8.8084269285420028E-2</c:v>
                </c:pt>
                <c:pt idx="5">
                  <c:v>6.6105663501133907E-2</c:v>
                </c:pt>
                <c:pt idx="6">
                  <c:v>5.5111306739024063E-2</c:v>
                </c:pt>
                <c:pt idx="7">
                  <c:v>5.3995472486447642E-2</c:v>
                </c:pt>
                <c:pt idx="8">
                  <c:v>5.3951452200089581E-2</c:v>
                </c:pt>
                <c:pt idx="9">
                  <c:v>5.1530592719238259E-2</c:v>
                </c:pt>
                <c:pt idx="10">
                  <c:v>4.392518871943514E-2</c:v>
                </c:pt>
                <c:pt idx="11">
                  <c:v>4.3523992651004609E-2</c:v>
                </c:pt>
                <c:pt idx="12">
                  <c:v>3.9111277630775508E-2</c:v>
                </c:pt>
                <c:pt idx="13">
                  <c:v>3.7712582902028932E-2</c:v>
                </c:pt>
                <c:pt idx="14">
                  <c:v>3.55649374604875E-2</c:v>
                </c:pt>
                <c:pt idx="15">
                  <c:v>3.4897593895835972E-2</c:v>
                </c:pt>
                <c:pt idx="16">
                  <c:v>3.0542778882645755E-2</c:v>
                </c:pt>
                <c:pt idx="17">
                  <c:v>2.8836992449272597E-2</c:v>
                </c:pt>
                <c:pt idx="18">
                  <c:v>2.792408978169858E-2</c:v>
                </c:pt>
                <c:pt idx="19">
                  <c:v>2.6753138843207493E-2</c:v>
                </c:pt>
                <c:pt idx="20">
                  <c:v>2.5923616518286119E-2</c:v>
                </c:pt>
                <c:pt idx="21">
                  <c:v>2.5565963244185617E-2</c:v>
                </c:pt>
                <c:pt idx="22">
                  <c:v>2.5502976013192704E-2</c:v>
                </c:pt>
                <c:pt idx="23">
                  <c:v>2.492509389523051E-2</c:v>
                </c:pt>
                <c:pt idx="24">
                  <c:v>2.2805161811545023E-2</c:v>
                </c:pt>
                <c:pt idx="25">
                  <c:v>2.2334882739955552E-2</c:v>
                </c:pt>
                <c:pt idx="26">
                  <c:v>2.1945186390942881E-2</c:v>
                </c:pt>
                <c:pt idx="27">
                  <c:v>2.1786722636783971E-2</c:v>
                </c:pt>
                <c:pt idx="28">
                  <c:v>2.1385710771053518E-2</c:v>
                </c:pt>
                <c:pt idx="29">
                  <c:v>2.1222249404694471E-2</c:v>
                </c:pt>
                <c:pt idx="30">
                  <c:v>2.1039373361363405E-2</c:v>
                </c:pt>
                <c:pt idx="31">
                  <c:v>2.0344338888379755E-2</c:v>
                </c:pt>
                <c:pt idx="32">
                  <c:v>2.0020955901305242E-2</c:v>
                </c:pt>
                <c:pt idx="33">
                  <c:v>1.907813971901004E-2</c:v>
                </c:pt>
                <c:pt idx="34">
                  <c:v>1.9008594171065551E-2</c:v>
                </c:pt>
                <c:pt idx="35">
                  <c:v>1.8905202075767541E-2</c:v>
                </c:pt>
                <c:pt idx="36">
                  <c:v>1.873934993728444E-2</c:v>
                </c:pt>
                <c:pt idx="37">
                  <c:v>1.8307841687380502E-2</c:v>
                </c:pt>
                <c:pt idx="38">
                  <c:v>1.8103753854343412E-2</c:v>
                </c:pt>
                <c:pt idx="39">
                  <c:v>1.7954813028426296E-2</c:v>
                </c:pt>
                <c:pt idx="40">
                  <c:v>1.7467454583855544E-2</c:v>
                </c:pt>
                <c:pt idx="41">
                  <c:v>1.674632697854949E-2</c:v>
                </c:pt>
                <c:pt idx="42">
                  <c:v>1.667160086430744E-2</c:v>
                </c:pt>
                <c:pt idx="43">
                  <c:v>1.6372424662105454E-2</c:v>
                </c:pt>
                <c:pt idx="44">
                  <c:v>1.6192653036245879E-2</c:v>
                </c:pt>
                <c:pt idx="45">
                  <c:v>1.5947731573344306E-2</c:v>
                </c:pt>
                <c:pt idx="46">
                  <c:v>1.5870527092254044E-2</c:v>
                </c:pt>
                <c:pt idx="47">
                  <c:v>1.562688365139752E-2</c:v>
                </c:pt>
                <c:pt idx="48">
                  <c:v>1.5442080128356685E-2</c:v>
                </c:pt>
                <c:pt idx="49">
                  <c:v>1.4485514876487972E-2</c:v>
                </c:pt>
                <c:pt idx="50">
                  <c:v>1.4120425121540308E-2</c:v>
                </c:pt>
                <c:pt idx="51">
                  <c:v>1.3901792582193914E-2</c:v>
                </c:pt>
                <c:pt idx="52">
                  <c:v>1.3615791765328207E-2</c:v>
                </c:pt>
                <c:pt idx="53">
                  <c:v>1.3160393087390277E-2</c:v>
                </c:pt>
                <c:pt idx="54">
                  <c:v>1.267542626296039E-2</c:v>
                </c:pt>
                <c:pt idx="55">
                  <c:v>1.2581504510047243E-2</c:v>
                </c:pt>
                <c:pt idx="56">
                  <c:v>1.2249432718553726E-2</c:v>
                </c:pt>
                <c:pt idx="57">
                  <c:v>1.200862162403731E-2</c:v>
                </c:pt>
                <c:pt idx="58">
                  <c:v>1.0729112210360358E-2</c:v>
                </c:pt>
                <c:pt idx="59">
                  <c:v>1.0242239067552117E-2</c:v>
                </c:pt>
                <c:pt idx="60">
                  <c:v>9.1201903869319537E-3</c:v>
                </c:pt>
                <c:pt idx="61">
                  <c:v>9.0419962825808234E-3</c:v>
                </c:pt>
                <c:pt idx="62">
                  <c:v>9.0358164018606024E-3</c:v>
                </c:pt>
                <c:pt idx="63">
                  <c:v>8.9696734334785942E-3</c:v>
                </c:pt>
                <c:pt idx="64">
                  <c:v>8.7379407573144538E-3</c:v>
                </c:pt>
                <c:pt idx="65">
                  <c:v>6.8485896232834444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quate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quate 5 Blades 1 Handle + 2 Cartridges @7.97</c:v>
                </c:pt>
                <c:pt idx="1">
                  <c:v>Equate Easy Fit 5 blades 1 Handle + 5 Cartridges @11.97</c:v>
                </c:pt>
              </c:strCache>
            </c:strRef>
          </c:cat>
          <c:val>
            <c:numRef>
              <c:f>Sheet1!$B$2:$B$3</c:f>
              <c:numCache>
                <c:formatCode>General</c:formatCode>
                <c:ptCount val="2"/>
                <c:pt idx="0">
                  <c:v>135.6868460496095</c:v>
                </c:pt>
                <c:pt idx="1">
                  <c:v>133.2088092969743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quate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quate 5 Blades 1 Handle + 2 Cartridges @7.97</c:v>
                </c:pt>
                <c:pt idx="1">
                  <c:v>Equate Easy Fit 5 blades 1 Handle + 5 Cartridges @11.97</c:v>
                </c:pt>
              </c:strCache>
            </c:strRef>
          </c:cat>
          <c:val>
            <c:numRef>
              <c:f>Sheet1!$C$2:$C$3</c:f>
              <c:numCache>
                <c:formatCode>General</c:formatCode>
                <c:ptCount val="2"/>
                <c:pt idx="0">
                  <c:v>135.68684604960953</c:v>
                </c:pt>
                <c:pt idx="1">
                  <c:v>151.6451533244459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quate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quate 5 Blades 1 Handle + 2 Cartridges @7.97</c:v>
                </c:pt>
                <c:pt idx="1">
                  <c:v>Equate Easy Fit 5 blades 1 Handle + 5 Cartridges @11.97</c:v>
                </c:pt>
              </c:strCache>
            </c:strRef>
          </c:cat>
          <c:val>
            <c:numRef>
              <c:f>Sheet1!$D$2:$D$3</c:f>
              <c:numCache>
                <c:formatCode>General</c:formatCode>
                <c:ptCount val="2"/>
                <c:pt idx="0">
                  <c:v>133.45562928113708</c:v>
                </c:pt>
                <c:pt idx="1">
                  <c:v>153.80371536039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5 Blades 1 Handle + 2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one Razors</c:v>
                </c:pt>
                <c:pt idx="1">
                  <c:v>Dollar Shave Club 6 Blades Blade Refills 4 Pack</c:v>
                </c:pt>
                <c:pt idx="2">
                  <c:v>Equate Easy Fit 5 blades 1 Handle + 2 Cartridges</c:v>
                </c:pt>
                <c:pt idx="3">
                  <c:v>Gillette Fusion 5 Blade Refills 4 Pack</c:v>
                </c:pt>
                <c:pt idx="4">
                  <c:v>Harry's Men Five Blade Refills 4 Pack</c:v>
                </c:pt>
                <c:pt idx="5">
                  <c:v>Gillette Fusion 5 1 Handle + 2 Cartridges</c:v>
                </c:pt>
                <c:pt idx="6">
                  <c:v>Schick Hydro 5 Blade Sensitive 1 Handle + 3 Cartridges</c:v>
                </c:pt>
                <c:pt idx="7">
                  <c:v>Gillette Mach 3 1 Handle + 2 Cartridges</c:v>
                </c:pt>
                <c:pt idx="8">
                  <c:v>Dollar Shave Club 6 1 Handle + 2 Blades</c:v>
                </c:pt>
                <c:pt idx="9">
                  <c:v>Harry's 5 Blade 1 Handle + 2 Cartridges</c:v>
                </c:pt>
                <c:pt idx="10">
                  <c:v>Equate 2 Blade Disposable Razors 12 Pack</c:v>
                </c:pt>
              </c:strCache>
            </c:strRef>
          </c:cat>
          <c:val>
            <c:numRef>
              <c:f>Sheet1!$B$2:$B$12</c:f>
              <c:numCache>
                <c:formatCode>General</c:formatCode>
                <c:ptCount val="11"/>
                <c:pt idx="0">
                  <c:v>6.6188610794790645E-2</c:v>
                </c:pt>
                <c:pt idx="1">
                  <c:v>0.10958968067286384</c:v>
                </c:pt>
                <c:pt idx="2">
                  <c:v>5.9326896253045727E-2</c:v>
                </c:pt>
                <c:pt idx="3">
                  <c:v>-3.9359026423734136E-2</c:v>
                </c:pt>
                <c:pt idx="4">
                  <c:v>2.8452907825110473E-2</c:v>
                </c:pt>
                <c:pt idx="5">
                  <c:v>3.0727568400845489E-2</c:v>
                </c:pt>
                <c:pt idx="6">
                  <c:v>6.2198155125165355E-2</c:v>
                </c:pt>
                <c:pt idx="7">
                  <c:v>5.4707437465234245E-2</c:v>
                </c:pt>
                <c:pt idx="8">
                  <c:v>7.298529567093269E-2</c:v>
                </c:pt>
                <c:pt idx="9">
                  <c:v>5.7618679762941299E-2</c:v>
                </c:pt>
                <c:pt idx="10">
                  <c:v>6.0365126727490344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Easy Fit 5 blades 1 Handle + 5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one Razors</c:v>
                </c:pt>
                <c:pt idx="1">
                  <c:v>Dollar Shave Club 6 Blades Blade Refills 4 Pack</c:v>
                </c:pt>
                <c:pt idx="2">
                  <c:v>Equate Easy Fit 5 blades 1 Handle + 2 Cartridges</c:v>
                </c:pt>
                <c:pt idx="3">
                  <c:v>Gillette Fusion 5 Blade Refills 4 Pack</c:v>
                </c:pt>
                <c:pt idx="4">
                  <c:v>Harry's Men Five Blade Refills 4 Pack</c:v>
                </c:pt>
                <c:pt idx="5">
                  <c:v>Gillette Fusion 5 1 Handle + 2 Cartridges</c:v>
                </c:pt>
                <c:pt idx="6">
                  <c:v>Schick Hydro 5 Blade Sensitive 1 Handle + 3 Cartridges</c:v>
                </c:pt>
                <c:pt idx="7">
                  <c:v>Gillette Mach 3 1 Handle + 2 Cartridges</c:v>
                </c:pt>
                <c:pt idx="8">
                  <c:v>Dollar Shave Club 6 1 Handle + 2 Blades</c:v>
                </c:pt>
                <c:pt idx="9">
                  <c:v>Harry's 5 Blade 1 Handle + 2 Cartridges</c:v>
                </c:pt>
                <c:pt idx="10">
                  <c:v>Equate 2 Blade Disposable Razors 12 Pack</c:v>
                </c:pt>
              </c:strCache>
            </c:strRef>
          </c:cat>
          <c:val>
            <c:numRef>
              <c:f>Sheet1!$B$2:$B$12</c:f>
              <c:numCache>
                <c:formatCode>General</c:formatCode>
                <c:ptCount val="11"/>
                <c:pt idx="0">
                  <c:v>0.10870439918634851</c:v>
                </c:pt>
                <c:pt idx="1">
                  <c:v>6.1701828261750261E-2</c:v>
                </c:pt>
                <c:pt idx="2">
                  <c:v>9.5975562213244464E-2</c:v>
                </c:pt>
                <c:pt idx="3">
                  <c:v>0.17914028778504087</c:v>
                </c:pt>
                <c:pt idx="4">
                  <c:v>0.10920028981350498</c:v>
                </c:pt>
                <c:pt idx="5">
                  <c:v>9.7854697022107057E-2</c:v>
                </c:pt>
                <c:pt idx="6">
                  <c:v>4.9847543326949226E-2</c:v>
                </c:pt>
                <c:pt idx="7">
                  <c:v>5.6313660203847968E-2</c:v>
                </c:pt>
                <c:pt idx="8">
                  <c:v>2.8430648427963286E-2</c:v>
                </c:pt>
                <c:pt idx="9">
                  <c:v>4.2039703480293025E-2</c:v>
                </c:pt>
                <c:pt idx="10">
                  <c:v>1.6593876719861438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Pro Sensitive 1 Handle + 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7ECAC4"/>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006C6D"/>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r>
                      <a:rPr lang="en-US" sz="500">
                        <a:solidFill>
                          <a:srgbClr val="006C6D"/>
                        </a:solidFill>
                      </a:rPr>
                      <a:t>Schick Hydro 3 Blade Pro Sensitive 1 Handle + 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Gillette Mach 3 Blade Refills 8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Bic 3 Sensitive Disposable Razors 5 Pack</c:v>
                </c:pt>
                <c:pt idx="28">
                  <c:v>Gillette Mach 3 Sensitive Skin Disposable Razors 3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Gillette Fusion 5 1 Handle + 3 Cartridges Holiday Pack</c:v>
                </c:pt>
                <c:pt idx="45">
                  <c:v>Bic Flex 4 Sensitive Skin Disposable Razors 3 Pack</c:v>
                </c:pt>
                <c:pt idx="46">
                  <c:v>Gillette Fusion 5 Proglide 1 Handle + 4 Cartridges</c:v>
                </c:pt>
                <c:pt idx="47">
                  <c:v>Schick Hydro 5 Blade Sensitive 1 Handle + 3 Cartridges</c:v>
                </c:pt>
                <c:pt idx="48">
                  <c:v>Schick Hydro 3 Blade Ultra Sensitive 1 Handle + 4 Cartridges</c:v>
                </c:pt>
                <c:pt idx="49">
                  <c:v>Schick Hydro 5 Blade Sensitive Refills 12 Pack</c:v>
                </c:pt>
                <c:pt idx="50">
                  <c:v>Gillette Sensor 3 Disposable Razors 8 Pack</c:v>
                </c:pt>
                <c:pt idx="51">
                  <c:v>Equate Caliber 3 Disposable Razors 3 Pack</c:v>
                </c:pt>
                <c:pt idx="52">
                  <c:v>Equate Easy Fit 5 Blade Refills 12 Pack</c:v>
                </c:pt>
                <c:pt idx="53">
                  <c:v>Bic Men Sensitive Twin Blade Disposable Razors 10 Pack</c:v>
                </c:pt>
                <c:pt idx="54">
                  <c:v>Schick Hydro 3 Blade Pro Sensitive 1 Handle + 3 Cartridges</c:v>
                </c:pt>
                <c:pt idx="55">
                  <c:v>Bic Flex 5 Disposable Razors 4 Pack</c:v>
                </c:pt>
                <c:pt idx="56">
                  <c:v>Bic Comfort 3 Sensitive Skin Disposable Razors 8 Pack</c:v>
                </c:pt>
                <c:pt idx="57">
                  <c:v>Equate Easy Fit 5 blades 1 Handle + 2 Cartridges</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18315585196907</c:v>
                </c:pt>
                <c:pt idx="1">
                  <c:v>0.11319862536939496</c:v>
                </c:pt>
                <c:pt idx="2">
                  <c:v>0.10157403273358651</c:v>
                </c:pt>
                <c:pt idx="3">
                  <c:v>0.10075145779164896</c:v>
                </c:pt>
                <c:pt idx="4">
                  <c:v>8.7774002907265863E-2</c:v>
                </c:pt>
                <c:pt idx="5">
                  <c:v>6.5833324405351668E-2</c:v>
                </c:pt>
                <c:pt idx="6">
                  <c:v>5.5025123455928082E-2</c:v>
                </c:pt>
                <c:pt idx="7">
                  <c:v>5.3965156995481031E-2</c:v>
                </c:pt>
                <c:pt idx="8">
                  <c:v>5.3865915487252052E-2</c:v>
                </c:pt>
                <c:pt idx="9">
                  <c:v>4.7902647928964918E-2</c:v>
                </c:pt>
                <c:pt idx="10">
                  <c:v>4.3525053229958706E-2</c:v>
                </c:pt>
                <c:pt idx="11">
                  <c:v>4.3306349584925394E-2</c:v>
                </c:pt>
                <c:pt idx="12">
                  <c:v>4.1455333796541941E-2</c:v>
                </c:pt>
                <c:pt idx="13">
                  <c:v>3.8978844379087156E-2</c:v>
                </c:pt>
                <c:pt idx="14">
                  <c:v>3.7756097348993975E-2</c:v>
                </c:pt>
                <c:pt idx="15">
                  <c:v>3.5043257283361218E-2</c:v>
                </c:pt>
                <c:pt idx="16">
                  <c:v>3.4700321309575434E-2</c:v>
                </c:pt>
                <c:pt idx="17">
                  <c:v>2.8657001221429161E-2</c:v>
                </c:pt>
                <c:pt idx="18">
                  <c:v>2.7859107470015926E-2</c:v>
                </c:pt>
                <c:pt idx="19">
                  <c:v>2.6660773448212154E-2</c:v>
                </c:pt>
                <c:pt idx="20">
                  <c:v>2.586618321078173E-2</c:v>
                </c:pt>
                <c:pt idx="21">
                  <c:v>2.528005119913165E-2</c:v>
                </c:pt>
                <c:pt idx="22">
                  <c:v>2.5127663000042499E-2</c:v>
                </c:pt>
                <c:pt idx="23">
                  <c:v>2.4465941486291685E-2</c:v>
                </c:pt>
                <c:pt idx="24">
                  <c:v>2.2812287003150994E-2</c:v>
                </c:pt>
                <c:pt idx="25">
                  <c:v>2.1812361056716717E-2</c:v>
                </c:pt>
                <c:pt idx="26">
                  <c:v>2.1602118160083169E-2</c:v>
                </c:pt>
                <c:pt idx="27">
                  <c:v>2.1178107217255722E-2</c:v>
                </c:pt>
                <c:pt idx="28">
                  <c:v>2.1160459760752405E-2</c:v>
                </c:pt>
                <c:pt idx="29">
                  <c:v>2.0977199313392047E-2</c:v>
                </c:pt>
                <c:pt idx="30">
                  <c:v>2.0459775123420676E-2</c:v>
                </c:pt>
                <c:pt idx="31">
                  <c:v>2.0355842928399356E-2</c:v>
                </c:pt>
                <c:pt idx="32">
                  <c:v>1.9912220123868059E-2</c:v>
                </c:pt>
                <c:pt idx="33">
                  <c:v>1.9000952642414866E-2</c:v>
                </c:pt>
                <c:pt idx="34">
                  <c:v>1.8874931745867067E-2</c:v>
                </c:pt>
                <c:pt idx="35">
                  <c:v>1.8853519653611903E-2</c:v>
                </c:pt>
                <c:pt idx="36">
                  <c:v>1.8656672572785089E-2</c:v>
                </c:pt>
                <c:pt idx="37">
                  <c:v>1.8301026977655423E-2</c:v>
                </c:pt>
                <c:pt idx="38">
                  <c:v>1.8242647314091413E-2</c:v>
                </c:pt>
                <c:pt idx="39">
                  <c:v>1.8076746714806708E-2</c:v>
                </c:pt>
                <c:pt idx="40">
                  <c:v>1.726354100643307E-2</c:v>
                </c:pt>
                <c:pt idx="41">
                  <c:v>1.660864311039505E-2</c:v>
                </c:pt>
                <c:pt idx="42">
                  <c:v>1.6141822505732054E-2</c:v>
                </c:pt>
                <c:pt idx="43">
                  <c:v>1.5808988185095907E-2</c:v>
                </c:pt>
                <c:pt idx="44">
                  <c:v>1.5775307106390146E-2</c:v>
                </c:pt>
                <c:pt idx="45">
                  <c:v>1.5758487518498728E-2</c:v>
                </c:pt>
                <c:pt idx="46">
                  <c:v>1.5424814924308552E-2</c:v>
                </c:pt>
                <c:pt idx="47">
                  <c:v>1.5218873254675422E-2</c:v>
                </c:pt>
                <c:pt idx="48">
                  <c:v>1.457587308590068E-2</c:v>
                </c:pt>
                <c:pt idx="49">
                  <c:v>1.4451286859819744E-2</c:v>
                </c:pt>
                <c:pt idx="50">
                  <c:v>1.4068289871452817E-2</c:v>
                </c:pt>
                <c:pt idx="51">
                  <c:v>1.3841082947440882E-2</c:v>
                </c:pt>
                <c:pt idx="52">
                  <c:v>1.3367119333423626E-2</c:v>
                </c:pt>
                <c:pt idx="53">
                  <c:v>1.3172182311683666E-2</c:v>
                </c:pt>
                <c:pt idx="54">
                  <c:v>1.2852378581641436E-2</c:v>
                </c:pt>
                <c:pt idx="55">
                  <c:v>1.2588946326484562E-2</c:v>
                </c:pt>
                <c:pt idx="56">
                  <c:v>1.2554942525852372E-2</c:v>
                </c:pt>
                <c:pt idx="57">
                  <c:v>1.2530442515387387E-2</c:v>
                </c:pt>
                <c:pt idx="58">
                  <c:v>1.1940121140882764E-2</c:v>
                </c:pt>
                <c:pt idx="59">
                  <c:v>1.0675748261708029E-2</c:v>
                </c:pt>
                <c:pt idx="60">
                  <c:v>1.0084801825890615E-2</c:v>
                </c:pt>
                <c:pt idx="61">
                  <c:v>9.1452644573674427E-3</c:v>
                </c:pt>
                <c:pt idx="62">
                  <c:v>8.9762211310508225E-3</c:v>
                </c:pt>
                <c:pt idx="63">
                  <c:v>8.96962402165658E-3</c:v>
                </c:pt>
                <c:pt idx="64">
                  <c:v>8.919293652355352E-3</c:v>
                </c:pt>
                <c:pt idx="65">
                  <c:v>8.6052116672870622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Ingrown Defense 1 Handle + 3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spPr>
              <a:solidFill>
                <a:srgbClr val="7ECAC4"/>
              </a:solidFill>
            </c:spPr>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006C6D"/>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r>
                      <a:rPr lang="en-US" sz="500">
                        <a:solidFill>
                          <a:srgbClr val="006C6D"/>
                        </a:solidFill>
                      </a:rPr>
                      <a:t>Schick Hydro 3 Blade Ingrown Defense 1 Handle + 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Van Der Hagen Men Double Edge Blade Refills 10 Pack</c:v>
                </c:pt>
                <c:pt idx="11">
                  <c:v>Dollar Shave Club 6 Blades Blade Refills 4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Bic Comfort 3 Sensitive Skin Disposable Razors 4 Pack</c:v>
                </c:pt>
                <c:pt idx="36">
                  <c:v>Dollar Shave Club 6 1 Handle + 2 Blades</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Gillette Fusion 5 Proglide 1 Handle + 4 Cartridges</c:v>
                </c:pt>
                <c:pt idx="47">
                  <c:v>Schick Hydro 5 Blade Sensitive 1 Handle + 3 Cartridges</c:v>
                </c:pt>
                <c:pt idx="48">
                  <c:v>Schick Hydro 5 Blade Sensitive Refills 12 Pack</c:v>
                </c:pt>
                <c:pt idx="49">
                  <c:v>Schick Hydro 3 Blade Ultra Sensitive 1 Handle + 4 Cartridges</c:v>
                </c:pt>
                <c:pt idx="50">
                  <c:v>Gillette Sensor 3 Disposable Razors 8 Pack</c:v>
                </c:pt>
                <c:pt idx="51">
                  <c:v>Equate Caliber 3 Disposable Razors 3 Pack</c:v>
                </c:pt>
                <c:pt idx="52">
                  <c:v>Schick Hydro 3 Blade Ingrown Defense 1 Handle + 3 Cartridges</c:v>
                </c:pt>
                <c:pt idx="53">
                  <c:v>Equate Easy Fit 5 Blade Refills 12 Pack</c:v>
                </c:pt>
                <c:pt idx="54">
                  <c:v>Bic Men Sensitive Twin Blade Disposable Razors 10 Pack</c:v>
                </c:pt>
                <c:pt idx="55">
                  <c:v>Bic Flex 5 Disposable Razors 4 Pack</c:v>
                </c:pt>
                <c:pt idx="56">
                  <c:v>Bic Comfort 3 Sensitive Skin Disposable Razors 8 Pack</c:v>
                </c:pt>
                <c:pt idx="57">
                  <c:v>Equate Easy Fit 5 blades 1 Handle + 2 Cartridges</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155405817678557</c:v>
                </c:pt>
                <c:pt idx="1">
                  <c:v>0.11286985109841978</c:v>
                </c:pt>
                <c:pt idx="2">
                  <c:v>0.10151662372559052</c:v>
                </c:pt>
                <c:pt idx="3">
                  <c:v>0.1002367396907228</c:v>
                </c:pt>
                <c:pt idx="4">
                  <c:v>8.7740527504489477E-2</c:v>
                </c:pt>
                <c:pt idx="5">
                  <c:v>6.5695185062420017E-2</c:v>
                </c:pt>
                <c:pt idx="6">
                  <c:v>5.498457865577263E-2</c:v>
                </c:pt>
                <c:pt idx="7">
                  <c:v>5.3898756180330736E-2</c:v>
                </c:pt>
                <c:pt idx="8">
                  <c:v>5.3811641743891934E-2</c:v>
                </c:pt>
                <c:pt idx="9">
                  <c:v>4.7893248242017197E-2</c:v>
                </c:pt>
                <c:pt idx="10">
                  <c:v>4.3239341654213122E-2</c:v>
                </c:pt>
                <c:pt idx="11">
                  <c:v>4.3009812716500596E-2</c:v>
                </c:pt>
                <c:pt idx="12">
                  <c:v>4.255992469017502E-2</c:v>
                </c:pt>
                <c:pt idx="13">
                  <c:v>3.893741108013777E-2</c:v>
                </c:pt>
                <c:pt idx="14">
                  <c:v>3.7586898277006439E-2</c:v>
                </c:pt>
                <c:pt idx="15">
                  <c:v>3.5588072868547538E-2</c:v>
                </c:pt>
                <c:pt idx="16">
                  <c:v>3.4818485321353621E-2</c:v>
                </c:pt>
                <c:pt idx="17">
                  <c:v>2.8607327225273607E-2</c:v>
                </c:pt>
                <c:pt idx="18">
                  <c:v>2.7852584957684341E-2</c:v>
                </c:pt>
                <c:pt idx="19">
                  <c:v>2.6646471747318136E-2</c:v>
                </c:pt>
                <c:pt idx="20">
                  <c:v>2.583421440514061E-2</c:v>
                </c:pt>
                <c:pt idx="21">
                  <c:v>2.5455812756843933E-2</c:v>
                </c:pt>
                <c:pt idx="22">
                  <c:v>2.5160551288886786E-2</c:v>
                </c:pt>
                <c:pt idx="23">
                  <c:v>2.4248343574193174E-2</c:v>
                </c:pt>
                <c:pt idx="24">
                  <c:v>2.2728515374013988E-2</c:v>
                </c:pt>
                <c:pt idx="25">
                  <c:v>2.1796335627520071E-2</c:v>
                </c:pt>
                <c:pt idx="26">
                  <c:v>2.1640141443919323E-2</c:v>
                </c:pt>
                <c:pt idx="27">
                  <c:v>2.1220087726211131E-2</c:v>
                </c:pt>
                <c:pt idx="28">
                  <c:v>2.1135129122449921E-2</c:v>
                </c:pt>
                <c:pt idx="29">
                  <c:v>2.0946290803089091E-2</c:v>
                </c:pt>
                <c:pt idx="30">
                  <c:v>2.0452827771970727E-2</c:v>
                </c:pt>
                <c:pt idx="31">
                  <c:v>2.0379354686715062E-2</c:v>
                </c:pt>
                <c:pt idx="32">
                  <c:v>1.9879765691137294E-2</c:v>
                </c:pt>
                <c:pt idx="33">
                  <c:v>1.9008938606510664E-2</c:v>
                </c:pt>
                <c:pt idx="34">
                  <c:v>1.8872998751465708E-2</c:v>
                </c:pt>
                <c:pt idx="35">
                  <c:v>1.8680689864854633E-2</c:v>
                </c:pt>
                <c:pt idx="36">
                  <c:v>1.8534582019209943E-2</c:v>
                </c:pt>
                <c:pt idx="37">
                  <c:v>1.8298206257506253E-2</c:v>
                </c:pt>
                <c:pt idx="38">
                  <c:v>1.823300257679546E-2</c:v>
                </c:pt>
                <c:pt idx="39">
                  <c:v>1.8063237550281247E-2</c:v>
                </c:pt>
                <c:pt idx="40">
                  <c:v>1.7017232636902371E-2</c:v>
                </c:pt>
                <c:pt idx="41">
                  <c:v>1.6555895542169619E-2</c:v>
                </c:pt>
                <c:pt idx="42">
                  <c:v>1.6136839576627891E-2</c:v>
                </c:pt>
                <c:pt idx="43">
                  <c:v>1.6045842692452496E-2</c:v>
                </c:pt>
                <c:pt idx="44">
                  <c:v>1.5777848061904538E-2</c:v>
                </c:pt>
                <c:pt idx="45">
                  <c:v>1.5750007429847526E-2</c:v>
                </c:pt>
                <c:pt idx="46">
                  <c:v>1.5409176991607669E-2</c:v>
                </c:pt>
                <c:pt idx="47">
                  <c:v>1.5407367446763512E-2</c:v>
                </c:pt>
                <c:pt idx="48">
                  <c:v>1.4750675484575846E-2</c:v>
                </c:pt>
                <c:pt idx="49">
                  <c:v>1.4739724370154207E-2</c:v>
                </c:pt>
                <c:pt idx="50">
                  <c:v>1.4058892592043893E-2</c:v>
                </c:pt>
                <c:pt idx="51">
                  <c:v>1.3858779458418411E-2</c:v>
                </c:pt>
                <c:pt idx="52">
                  <c:v>1.3390327194057753E-2</c:v>
                </c:pt>
                <c:pt idx="53">
                  <c:v>1.3358120510281839E-2</c:v>
                </c:pt>
                <c:pt idx="54">
                  <c:v>1.3172387690422421E-2</c:v>
                </c:pt>
                <c:pt idx="55">
                  <c:v>1.2617826417213976E-2</c:v>
                </c:pt>
                <c:pt idx="56">
                  <c:v>1.2555183462937561E-2</c:v>
                </c:pt>
                <c:pt idx="57">
                  <c:v>1.2554200827145909E-2</c:v>
                </c:pt>
                <c:pt idx="58">
                  <c:v>1.1926577257736401E-2</c:v>
                </c:pt>
                <c:pt idx="59">
                  <c:v>1.0680559248921247E-2</c:v>
                </c:pt>
                <c:pt idx="60">
                  <c:v>1.0122449567899365E-2</c:v>
                </c:pt>
                <c:pt idx="61">
                  <c:v>9.0919424153400197E-3</c:v>
                </c:pt>
                <c:pt idx="62">
                  <c:v>8.9844209395854493E-3</c:v>
                </c:pt>
                <c:pt idx="63">
                  <c:v>8.9680808504666847E-3</c:v>
                </c:pt>
                <c:pt idx="64">
                  <c:v>8.9277458841178006E-3</c:v>
                </c:pt>
                <c:pt idx="65">
                  <c:v>8.5253289330399148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Refills 6 Pack @9.97</c:v>
                </c:pt>
                <c:pt idx="1">
                  <c:v>Schick Hydro 5 Blade Sensitive Refills 4 Pack @9.97</c:v>
                </c:pt>
                <c:pt idx="2">
                  <c:v>Schick Quattro Four Blade Refills 3 Pack @4.97</c:v>
                </c:pt>
                <c:pt idx="3">
                  <c:v>Schick Quattro Four Blade Refills 6 Pack @9.97</c:v>
                </c:pt>
              </c:strCache>
            </c:strRef>
          </c:cat>
          <c:val>
            <c:numRef>
              <c:f>Sheet1!$B$2:$B$5</c:f>
              <c:numCache>
                <c:formatCode>General</c:formatCode>
                <c:ptCount val="4"/>
                <c:pt idx="0">
                  <c:v>113.18569542934127</c:v>
                </c:pt>
                <c:pt idx="1">
                  <c:v>128.85915011259078</c:v>
                </c:pt>
                <c:pt idx="2">
                  <c:v>105.31305048166433</c:v>
                </c:pt>
                <c:pt idx="3">
                  <c:v>102.74678394838136</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Refills 6 Pack @9.97</c:v>
                </c:pt>
                <c:pt idx="1">
                  <c:v>Schick Hydro 5 Blade Sensitive Refills 4 Pack @9.97</c:v>
                </c:pt>
                <c:pt idx="2">
                  <c:v>Schick Quattro Four Blade Refills 3 Pack @4.97</c:v>
                </c:pt>
                <c:pt idx="3">
                  <c:v>Schick Quattro Four Blade Refills 6 Pack @9.97</c:v>
                </c:pt>
              </c:strCache>
            </c:strRef>
          </c:cat>
          <c:val>
            <c:numRef>
              <c:f>Sheet1!$C$2:$C$5</c:f>
              <c:numCache>
                <c:formatCode>General</c:formatCode>
                <c:ptCount val="4"/>
                <c:pt idx="0">
                  <c:v>104.3556546618611</c:v>
                </c:pt>
                <c:pt idx="1">
                  <c:v>113.16660747727335</c:v>
                </c:pt>
                <c:pt idx="2">
                  <c:v>101.61794216470881</c:v>
                </c:pt>
                <c:pt idx="3">
                  <c:v>101.675788092860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Refills 6 Pack @9.97</c:v>
                </c:pt>
                <c:pt idx="1">
                  <c:v>Schick Hydro 5 Blade Sensitive Refills 4 Pack @9.97</c:v>
                </c:pt>
                <c:pt idx="2">
                  <c:v>Schick Quattro Four Blade Refills 3 Pack @4.97</c:v>
                </c:pt>
                <c:pt idx="3">
                  <c:v>Schick Quattro Four Blade Refills 6 Pack @9.97</c:v>
                </c:pt>
              </c:strCache>
            </c:strRef>
          </c:cat>
          <c:val>
            <c:numRef>
              <c:f>Sheet1!$D$2:$D$5</c:f>
              <c:numCache>
                <c:formatCode>General</c:formatCode>
                <c:ptCount val="4"/>
                <c:pt idx="0">
                  <c:v>105.86746341739439</c:v>
                </c:pt>
                <c:pt idx="1">
                  <c:v>160.8698173051292</c:v>
                </c:pt>
                <c:pt idx="2">
                  <c:v>101.49189136055755</c:v>
                </c:pt>
                <c:pt idx="3">
                  <c:v>101.5476757889119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Advanced Hydration 1 Handle + 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7ECAC4"/>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7ECAC4"/>
              </a:solidFill>
            </c:spPr>
            <c:extLst>
              <c:ext xmlns:c16="http://schemas.microsoft.com/office/drawing/2014/chart" uri="{C3380CC4-5D6E-409C-BE32-E72D297353CC}">
                <c16:uniqueId val="{0000005F-902D-4251-AC41-C6D4CBCA5CD6}"/>
              </c:ext>
            </c:extLst>
          </c:dPt>
          <c:dPt>
            <c:idx val="48"/>
            <c:invertIfNegative val="1"/>
            <c:bubble3D val="0"/>
            <c:spPr>
              <a:solidFill>
                <a:srgbClr val="7ECAC4"/>
              </a:solidFill>
            </c:spPr>
            <c:extLst>
              <c:ext xmlns:c16="http://schemas.microsoft.com/office/drawing/2014/chart" uri="{C3380CC4-5D6E-409C-BE32-E72D297353CC}">
                <c16:uniqueId val="{00000061-902D-4251-AC41-C6D4CBCA5CD6}"/>
              </c:ext>
            </c:extLst>
          </c:dPt>
          <c:dPt>
            <c:idx val="49"/>
            <c:invertIfNegative val="0"/>
            <c:bubble3D val="0"/>
            <c:spPr>
              <a:solidFill>
                <a:srgbClr val="006C6D"/>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r>
                      <a:rPr lang="en-US" sz="500">
                        <a:solidFill>
                          <a:srgbClr val="006C6D"/>
                        </a:solidFill>
                      </a:rPr>
                      <a:t>Schick Hydro 5 Blade Advanced Hydration 1 Handle + 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Dollar Shave Club 6 1 Handle + 2 Blades</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Gillette Fusion 5 Proglide 1 Handle + 4 Cartridges</c:v>
                </c:pt>
                <c:pt idx="47">
                  <c:v>Schick Hydro 5 Blade Sensitive Refills 12 Pack</c:v>
                </c:pt>
                <c:pt idx="48">
                  <c:v>Schick Hydro 3 Blade Ultra Sensitive 1 Handle + 4 Cartridges</c:v>
                </c:pt>
                <c:pt idx="49">
                  <c:v>Schick Hydro 5 Blade Advanced Hydration 1 Handle + 3 Cartridges</c:v>
                </c:pt>
                <c:pt idx="50">
                  <c:v>Schick Hydro 5 Blade Sensitive 1 Handle + 3 Cartridges</c:v>
                </c:pt>
                <c:pt idx="51">
                  <c:v>Gillette Sensor 3 Disposable Razors 8 Pack</c:v>
                </c:pt>
                <c:pt idx="52">
                  <c:v>Equate Caliber 3 Disposable Razors 3 Pack</c:v>
                </c:pt>
                <c:pt idx="53">
                  <c:v>Equate Easy Fit 5 Blade Refills 12 Pack</c:v>
                </c:pt>
                <c:pt idx="54">
                  <c:v>Bic Men Sensitive Twin Blade Disposable Razors 10 Pack</c:v>
                </c:pt>
                <c:pt idx="55">
                  <c:v>Bic Flex 5 Disposable Razors 4 Pack</c:v>
                </c:pt>
                <c:pt idx="56">
                  <c:v>Bic Comfort 3 Sensitive Skin Disposable Razors 8 Pack</c:v>
                </c:pt>
                <c:pt idx="57">
                  <c:v>Equate Easy Fit 5 blades 1 Handle + 2 Cartridges</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114779030184407</c:v>
                </c:pt>
                <c:pt idx="1">
                  <c:v>0.11273182169621697</c:v>
                </c:pt>
                <c:pt idx="2">
                  <c:v>0.10136994084784551</c:v>
                </c:pt>
                <c:pt idx="3">
                  <c:v>0.10074696161814188</c:v>
                </c:pt>
                <c:pt idx="4">
                  <c:v>8.762246433694118E-2</c:v>
                </c:pt>
                <c:pt idx="5">
                  <c:v>6.5622934520197143E-2</c:v>
                </c:pt>
                <c:pt idx="6">
                  <c:v>5.5038046645187397E-2</c:v>
                </c:pt>
                <c:pt idx="7">
                  <c:v>5.399676095413658E-2</c:v>
                </c:pt>
                <c:pt idx="8">
                  <c:v>5.3930291464262009E-2</c:v>
                </c:pt>
                <c:pt idx="9">
                  <c:v>4.7697145041174525E-2</c:v>
                </c:pt>
                <c:pt idx="10">
                  <c:v>4.3355870991114258E-2</c:v>
                </c:pt>
                <c:pt idx="11">
                  <c:v>4.3213681649529906E-2</c:v>
                </c:pt>
                <c:pt idx="12">
                  <c:v>4.2270351508847614E-2</c:v>
                </c:pt>
                <c:pt idx="13">
                  <c:v>3.8887774205086517E-2</c:v>
                </c:pt>
                <c:pt idx="14">
                  <c:v>3.7401795859325952E-2</c:v>
                </c:pt>
                <c:pt idx="15">
                  <c:v>3.5803692572788107E-2</c:v>
                </c:pt>
                <c:pt idx="16">
                  <c:v>3.5058452798886801E-2</c:v>
                </c:pt>
                <c:pt idx="17">
                  <c:v>2.857571828806784E-2</c:v>
                </c:pt>
                <c:pt idx="18">
                  <c:v>2.7801297353227124E-2</c:v>
                </c:pt>
                <c:pt idx="19">
                  <c:v>2.6611410899081842E-2</c:v>
                </c:pt>
                <c:pt idx="20">
                  <c:v>2.5822364456049483E-2</c:v>
                </c:pt>
                <c:pt idx="21">
                  <c:v>2.5388727234724327E-2</c:v>
                </c:pt>
                <c:pt idx="22">
                  <c:v>2.5250774325968166E-2</c:v>
                </c:pt>
                <c:pt idx="23">
                  <c:v>2.4629518145770597E-2</c:v>
                </c:pt>
                <c:pt idx="24">
                  <c:v>2.2726622385715371E-2</c:v>
                </c:pt>
                <c:pt idx="25">
                  <c:v>2.1752850651181301E-2</c:v>
                </c:pt>
                <c:pt idx="26">
                  <c:v>2.1651231750378926E-2</c:v>
                </c:pt>
                <c:pt idx="27">
                  <c:v>2.1266124580175221E-2</c:v>
                </c:pt>
                <c:pt idx="28">
                  <c:v>2.1222171925904837E-2</c:v>
                </c:pt>
                <c:pt idx="29">
                  <c:v>2.089424373572735E-2</c:v>
                </c:pt>
                <c:pt idx="30">
                  <c:v>2.0408812363516465E-2</c:v>
                </c:pt>
                <c:pt idx="31">
                  <c:v>2.0360426424856002E-2</c:v>
                </c:pt>
                <c:pt idx="32">
                  <c:v>1.9872464817466285E-2</c:v>
                </c:pt>
                <c:pt idx="33">
                  <c:v>1.9012564701167117E-2</c:v>
                </c:pt>
                <c:pt idx="34">
                  <c:v>1.8869233165921932E-2</c:v>
                </c:pt>
                <c:pt idx="35">
                  <c:v>1.8765513162415565E-2</c:v>
                </c:pt>
                <c:pt idx="36">
                  <c:v>1.8714324089827483E-2</c:v>
                </c:pt>
                <c:pt idx="37">
                  <c:v>1.8312097524311729E-2</c:v>
                </c:pt>
                <c:pt idx="38">
                  <c:v>1.8239875212469069E-2</c:v>
                </c:pt>
                <c:pt idx="39">
                  <c:v>1.8076128212929268E-2</c:v>
                </c:pt>
                <c:pt idx="40">
                  <c:v>1.7199575713067978E-2</c:v>
                </c:pt>
                <c:pt idx="41">
                  <c:v>1.671455794231113E-2</c:v>
                </c:pt>
                <c:pt idx="42">
                  <c:v>1.6152879795153247E-2</c:v>
                </c:pt>
                <c:pt idx="43">
                  <c:v>1.6001172193084452E-2</c:v>
                </c:pt>
                <c:pt idx="44">
                  <c:v>1.5763370674614707E-2</c:v>
                </c:pt>
                <c:pt idx="45">
                  <c:v>1.5731859890654242E-2</c:v>
                </c:pt>
                <c:pt idx="46">
                  <c:v>1.5469341422737001E-2</c:v>
                </c:pt>
                <c:pt idx="47">
                  <c:v>1.4645549730293276E-2</c:v>
                </c:pt>
                <c:pt idx="48">
                  <c:v>1.4426330293264851E-2</c:v>
                </c:pt>
                <c:pt idx="49">
                  <c:v>1.4177943422139508E-2</c:v>
                </c:pt>
                <c:pt idx="50">
                  <c:v>1.4153685360480237E-2</c:v>
                </c:pt>
                <c:pt idx="51">
                  <c:v>1.4064309879698278E-2</c:v>
                </c:pt>
                <c:pt idx="52">
                  <c:v>1.3865972752690872E-2</c:v>
                </c:pt>
                <c:pt idx="53">
                  <c:v>1.3344488454352994E-2</c:v>
                </c:pt>
                <c:pt idx="54">
                  <c:v>1.3190652278256514E-2</c:v>
                </c:pt>
                <c:pt idx="55">
                  <c:v>1.2575161646610518E-2</c:v>
                </c:pt>
                <c:pt idx="56">
                  <c:v>1.2571686491403214E-2</c:v>
                </c:pt>
                <c:pt idx="57">
                  <c:v>1.2549656889650745E-2</c:v>
                </c:pt>
                <c:pt idx="58">
                  <c:v>1.1906348939660699E-2</c:v>
                </c:pt>
                <c:pt idx="59">
                  <c:v>1.0684750237957452E-2</c:v>
                </c:pt>
                <c:pt idx="60">
                  <c:v>1.0079060077778741E-2</c:v>
                </c:pt>
                <c:pt idx="61">
                  <c:v>9.1211336974104142E-3</c:v>
                </c:pt>
                <c:pt idx="62">
                  <c:v>8.9875328117263054E-3</c:v>
                </c:pt>
                <c:pt idx="63">
                  <c:v>8.9748774836437267E-3</c:v>
                </c:pt>
                <c:pt idx="64">
                  <c:v>8.9117426969842137E-3</c:v>
                </c:pt>
                <c:pt idx="65">
                  <c:v>8.61608680599487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Four Blade 1 Handle + 4 Cartri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7ECAC4"/>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7ECAC4"/>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7ECAC4"/>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006C6D"/>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r>
                      <a:rPr lang="en-US" sz="500">
                        <a:solidFill>
                          <a:srgbClr val="006C6D"/>
                        </a:solidFill>
                      </a:rPr>
                      <a:t>Schick Quattro Four Blade 1 Handle + 4 Cartri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Van Der Hagen Men Double Edge Blade Refills 10 Pack</c:v>
                </c:pt>
                <c:pt idx="11">
                  <c:v>Dollar Shave Club 6 Blades Blade Refills 4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Bic Comfort 3 Sensitive Skin Disposable Razors 4 Pack</c:v>
                </c:pt>
                <c:pt idx="36">
                  <c:v>Dollar Shave Club 6 1 Handle + 2 Blades</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Xtreme 3 Sensitive Disposable Razors 8 Pack</c:v>
                </c:pt>
                <c:pt idx="43">
                  <c:v>Gillette Sensor 3 Sensitive Disposable Razors 12 Pack</c:v>
                </c:pt>
                <c:pt idx="44">
                  <c:v>Bic Flex 4 Sensitive Skin Disposable Razors 3 Pack</c:v>
                </c:pt>
                <c:pt idx="45">
                  <c:v>Gillette Fusion 5 1 Handle + 3 Cartridges Holiday Pack</c:v>
                </c:pt>
                <c:pt idx="46">
                  <c:v>Schick Hydro 5 Blade Sensitive 1 Handle + 3 Cartridges</c:v>
                </c:pt>
                <c:pt idx="47">
                  <c:v>Gillette Fusion 5 Proglide 1 Handle + 4 Cartridges</c:v>
                </c:pt>
                <c:pt idx="48">
                  <c:v>Schick Hydro 3 Blade Ultra Sensitive 1 Handle + 4 Cartridges</c:v>
                </c:pt>
                <c:pt idx="49">
                  <c:v>Gillette Sensor 3 Disposable Razors 8 Pack</c:v>
                </c:pt>
                <c:pt idx="50">
                  <c:v>Equate Caliber 3 Disposable Razors 3 Pack</c:v>
                </c:pt>
                <c:pt idx="51">
                  <c:v>Equate Easy Fit 5 Blade Refills 12 Pack</c:v>
                </c:pt>
                <c:pt idx="52">
                  <c:v>Schick Hydro 5 Blade Sensitive Refills 12 Pack</c:v>
                </c:pt>
                <c:pt idx="53">
                  <c:v>Bic Men Sensitive Twin Blade Disposable Razors 10 Pack</c:v>
                </c:pt>
                <c:pt idx="54">
                  <c:v>Bic Flex 5 Disposable Razors 4 Pack</c:v>
                </c:pt>
                <c:pt idx="55">
                  <c:v>Bic Comfort 3 Sensitive Skin Disposable Razors 8 Pack</c:v>
                </c:pt>
                <c:pt idx="56">
                  <c:v>Equate Easy Fit 5 blades 1 Handle + 2 Cartridges</c:v>
                </c:pt>
                <c:pt idx="57">
                  <c:v>Bic Flex 5 Disposable Razors 2 Pack</c:v>
                </c:pt>
                <c:pt idx="58">
                  <c:v>Schick Quattro Four Blade 1 Handle + 4 Cartriges</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449819958503906</c:v>
                </c:pt>
                <c:pt idx="1">
                  <c:v>0.11217697761766136</c:v>
                </c:pt>
                <c:pt idx="2">
                  <c:v>0.10327819267628233</c:v>
                </c:pt>
                <c:pt idx="3">
                  <c:v>0.1029519591412211</c:v>
                </c:pt>
                <c:pt idx="4">
                  <c:v>8.9158994728971833E-2</c:v>
                </c:pt>
                <c:pt idx="5">
                  <c:v>6.6875847142699535E-2</c:v>
                </c:pt>
                <c:pt idx="6">
                  <c:v>5.4899011701041694E-2</c:v>
                </c:pt>
                <c:pt idx="7">
                  <c:v>5.3932347093114452E-2</c:v>
                </c:pt>
                <c:pt idx="8">
                  <c:v>5.3734454116118872E-2</c:v>
                </c:pt>
                <c:pt idx="9">
                  <c:v>4.8603501807548785E-2</c:v>
                </c:pt>
                <c:pt idx="10">
                  <c:v>4.3937067242660027E-2</c:v>
                </c:pt>
                <c:pt idx="11">
                  <c:v>4.3617771663758922E-2</c:v>
                </c:pt>
                <c:pt idx="12">
                  <c:v>3.9586805050332491E-2</c:v>
                </c:pt>
                <c:pt idx="13">
                  <c:v>3.7523580515926011E-2</c:v>
                </c:pt>
                <c:pt idx="14">
                  <c:v>3.578126178438755E-2</c:v>
                </c:pt>
                <c:pt idx="15">
                  <c:v>3.3581251831547143E-2</c:v>
                </c:pt>
                <c:pt idx="16">
                  <c:v>2.95542764128068E-2</c:v>
                </c:pt>
                <c:pt idx="17">
                  <c:v>2.913284381039619E-2</c:v>
                </c:pt>
                <c:pt idx="18">
                  <c:v>2.8335494598708946E-2</c:v>
                </c:pt>
                <c:pt idx="19">
                  <c:v>2.7103154521939496E-2</c:v>
                </c:pt>
                <c:pt idx="20">
                  <c:v>2.5829969910046529E-2</c:v>
                </c:pt>
                <c:pt idx="21">
                  <c:v>2.5782278788439562E-2</c:v>
                </c:pt>
                <c:pt idx="22">
                  <c:v>2.5430765241464735E-2</c:v>
                </c:pt>
                <c:pt idx="23">
                  <c:v>2.4783943178828406E-2</c:v>
                </c:pt>
                <c:pt idx="24">
                  <c:v>2.2770728846410813E-2</c:v>
                </c:pt>
                <c:pt idx="25">
                  <c:v>2.1874961524830875E-2</c:v>
                </c:pt>
                <c:pt idx="26">
                  <c:v>2.1660099036986798E-2</c:v>
                </c:pt>
                <c:pt idx="27">
                  <c:v>2.1335019215084575E-2</c:v>
                </c:pt>
                <c:pt idx="28">
                  <c:v>2.1151199701917135E-2</c:v>
                </c:pt>
                <c:pt idx="29">
                  <c:v>2.0955032131978295E-2</c:v>
                </c:pt>
                <c:pt idx="30">
                  <c:v>2.0782956490848013E-2</c:v>
                </c:pt>
                <c:pt idx="31">
                  <c:v>2.0342961876169217E-2</c:v>
                </c:pt>
                <c:pt idx="32">
                  <c:v>1.9905758466507887E-2</c:v>
                </c:pt>
                <c:pt idx="33">
                  <c:v>1.9061324816527603E-2</c:v>
                </c:pt>
                <c:pt idx="34">
                  <c:v>1.8875934414394946E-2</c:v>
                </c:pt>
                <c:pt idx="35">
                  <c:v>1.8711510542761635E-2</c:v>
                </c:pt>
                <c:pt idx="36">
                  <c:v>1.8566540238334695E-2</c:v>
                </c:pt>
                <c:pt idx="37">
                  <c:v>1.8307558826877394E-2</c:v>
                </c:pt>
                <c:pt idx="38">
                  <c:v>1.8287712963779332E-2</c:v>
                </c:pt>
                <c:pt idx="39">
                  <c:v>1.8071844043109936E-2</c:v>
                </c:pt>
                <c:pt idx="40">
                  <c:v>1.7374468057301848E-2</c:v>
                </c:pt>
                <c:pt idx="41">
                  <c:v>1.6740171205439868E-2</c:v>
                </c:pt>
                <c:pt idx="42">
                  <c:v>1.6291215877811831E-2</c:v>
                </c:pt>
                <c:pt idx="43">
                  <c:v>1.6193746718657774E-2</c:v>
                </c:pt>
                <c:pt idx="44">
                  <c:v>1.5835381012970242E-2</c:v>
                </c:pt>
                <c:pt idx="45">
                  <c:v>1.5749094894534774E-2</c:v>
                </c:pt>
                <c:pt idx="46">
                  <c:v>1.5574020536623285E-2</c:v>
                </c:pt>
                <c:pt idx="47">
                  <c:v>1.5467414228043118E-2</c:v>
                </c:pt>
                <c:pt idx="48">
                  <c:v>1.4989676971937094E-2</c:v>
                </c:pt>
                <c:pt idx="49">
                  <c:v>1.4092424597317814E-2</c:v>
                </c:pt>
                <c:pt idx="50">
                  <c:v>1.386170863908368E-2</c:v>
                </c:pt>
                <c:pt idx="51">
                  <c:v>1.358400851708989E-2</c:v>
                </c:pt>
                <c:pt idx="52">
                  <c:v>1.3450173064459956E-2</c:v>
                </c:pt>
                <c:pt idx="53">
                  <c:v>1.3175421795883003E-2</c:v>
                </c:pt>
                <c:pt idx="54">
                  <c:v>1.2631135625322042E-2</c:v>
                </c:pt>
                <c:pt idx="55">
                  <c:v>1.2564401444754094E-2</c:v>
                </c:pt>
                <c:pt idx="56">
                  <c:v>1.2424002254841882E-2</c:v>
                </c:pt>
                <c:pt idx="57">
                  <c:v>1.1935511326917704E-2</c:v>
                </c:pt>
                <c:pt idx="58">
                  <c:v>1.1521835203096995E-2</c:v>
                </c:pt>
                <c:pt idx="59">
                  <c:v>1.0720822415475329E-2</c:v>
                </c:pt>
                <c:pt idx="60">
                  <c:v>1.0220722564688338E-2</c:v>
                </c:pt>
                <c:pt idx="61">
                  <c:v>9.0765651966189589E-3</c:v>
                </c:pt>
                <c:pt idx="62">
                  <c:v>9.0342345291923674E-3</c:v>
                </c:pt>
                <c:pt idx="63">
                  <c:v>8.9698508114051164E-3</c:v>
                </c:pt>
                <c:pt idx="64">
                  <c:v>8.959127341071866E-3</c:v>
                </c:pt>
                <c:pt idx="65">
                  <c:v>8.8117718720002111E-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1 Handle + 3 Cartridges @9.97</c:v>
                </c:pt>
                <c:pt idx="1">
                  <c:v>Schick Hydro 3 Blade Ingrown Defense 1 Handle + 3 Cartridges @9.97</c:v>
                </c:pt>
                <c:pt idx="2">
                  <c:v>Schick Hydro 5 Blade Advanced Hydration 1 Handle + 3 Cartridges @9.97</c:v>
                </c:pt>
                <c:pt idx="3">
                  <c:v>Schick Quattro Four Blade 1 Handle + 4 Cartriges @9.97</c:v>
                </c:pt>
              </c:strCache>
            </c:strRef>
          </c:cat>
          <c:val>
            <c:numRef>
              <c:f>Sheet1!$B$2:$B$5</c:f>
              <c:numCache>
                <c:formatCode>General</c:formatCode>
                <c:ptCount val="4"/>
                <c:pt idx="0">
                  <c:v>132.52299613186636</c:v>
                </c:pt>
                <c:pt idx="1">
                  <c:v>134.32192847462886</c:v>
                </c:pt>
                <c:pt idx="2">
                  <c:v>132.98958465345197</c:v>
                </c:pt>
                <c:pt idx="3">
                  <c:v>129.1746694709273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1 Handle + 3 Cartridges @9.97</c:v>
                </c:pt>
                <c:pt idx="1">
                  <c:v>Schick Hydro 3 Blade Ingrown Defense 1 Handle + 3 Cartridges @9.97</c:v>
                </c:pt>
                <c:pt idx="2">
                  <c:v>Schick Hydro 5 Blade Advanced Hydration 1 Handle + 3 Cartridges @9.97</c:v>
                </c:pt>
                <c:pt idx="3">
                  <c:v>Schick Quattro Four Blade 1 Handle + 4 Cartriges @9.97</c:v>
                </c:pt>
              </c:strCache>
            </c:strRef>
          </c:cat>
          <c:val>
            <c:numRef>
              <c:f>Sheet1!$C$2:$C$5</c:f>
              <c:numCache>
                <c:formatCode>General</c:formatCode>
                <c:ptCount val="4"/>
                <c:pt idx="0">
                  <c:v>132.57320596038764</c:v>
                </c:pt>
                <c:pt idx="1">
                  <c:v>134.37287545554116</c:v>
                </c:pt>
                <c:pt idx="2">
                  <c:v>133.04536473561444</c:v>
                </c:pt>
                <c:pt idx="3">
                  <c:v>129.2179720672337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1 Handle + 3 Cartridges @9.97</c:v>
                </c:pt>
                <c:pt idx="1">
                  <c:v>Schick Hydro 3 Blade Ingrown Defense 1 Handle + 3 Cartridges @9.97</c:v>
                </c:pt>
                <c:pt idx="2">
                  <c:v>Schick Hydro 5 Blade Advanced Hydration 1 Handle + 3 Cartridges @9.97</c:v>
                </c:pt>
                <c:pt idx="3">
                  <c:v>Schick Quattro Four Blade 1 Handle + 4 Cartriges @9.97</c:v>
                </c:pt>
              </c:strCache>
            </c:strRef>
          </c:cat>
          <c:val>
            <c:numRef>
              <c:f>Sheet1!$D$2:$D$5</c:f>
              <c:numCache>
                <c:formatCode>General</c:formatCode>
                <c:ptCount val="4"/>
                <c:pt idx="0">
                  <c:v>146.76553272311972</c:v>
                </c:pt>
                <c:pt idx="1">
                  <c:v>143.0761115042985</c:v>
                </c:pt>
                <c:pt idx="2">
                  <c:v>142.03846843213222</c:v>
                </c:pt>
                <c:pt idx="3">
                  <c:v>132.1703200137698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Blade Pro Sensitive 1 Handle + 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19614803466350497</c:v>
                </c:pt>
                <c:pt idx="1">
                  <c:v>0.14512157733371953</c:v>
                </c:pt>
                <c:pt idx="2">
                  <c:v>5.1013715580390501E-2</c:v>
                </c:pt>
                <c:pt idx="3">
                  <c:v>0.10274901752164832</c:v>
                </c:pt>
                <c:pt idx="4">
                  <c:v>5.7713252939829096E-2</c:v>
                </c:pt>
                <c:pt idx="5">
                  <c:v>7.410832761182326E-2</c:v>
                </c:pt>
                <c:pt idx="6">
                  <c:v>5.9929763564120178E-2</c:v>
                </c:pt>
                <c:pt idx="7">
                  <c:v>5.6065429107964172E-2</c:v>
                </c:pt>
                <c:pt idx="8">
                  <c:v>6.5087527453826247E-2</c:v>
                </c:pt>
                <c:pt idx="9">
                  <c:v>6.8801697463197115E-2</c:v>
                </c:pt>
                <c:pt idx="10">
                  <c:v>2.7293167485860682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3 Blade Ingrown Defense 1 Handle + 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16766253827505354</c:v>
                </c:pt>
                <c:pt idx="1">
                  <c:v>0.1819889002600722</c:v>
                </c:pt>
                <c:pt idx="2">
                  <c:v>7.5451710734396979E-2</c:v>
                </c:pt>
                <c:pt idx="3">
                  <c:v>0.10178054067056863</c:v>
                </c:pt>
                <c:pt idx="4">
                  <c:v>9.4740607611467437E-2</c:v>
                </c:pt>
                <c:pt idx="5">
                  <c:v>8.949537533549809E-2</c:v>
                </c:pt>
                <c:pt idx="6">
                  <c:v>7.4109673694885178E-2</c:v>
                </c:pt>
                <c:pt idx="7">
                  <c:v>5.0215188330604267E-2</c:v>
                </c:pt>
                <c:pt idx="8">
                  <c:v>4.6623740128695614E-2</c:v>
                </c:pt>
                <c:pt idx="9">
                  <c:v>6.2756061710703151E-2</c:v>
                </c:pt>
                <c:pt idx="10">
                  <c:v>5.3937540430850264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Blade Advanced Hydration 1 Handle + 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28044616438009212</c:v>
                </c:pt>
                <c:pt idx="1">
                  <c:v>0.13025670956832722</c:v>
                </c:pt>
                <c:pt idx="2">
                  <c:v>7.8997810481345146E-2</c:v>
                </c:pt>
                <c:pt idx="3">
                  <c:v>0.13778279996645323</c:v>
                </c:pt>
                <c:pt idx="4">
                  <c:v>6.4474417475960902E-2</c:v>
                </c:pt>
                <c:pt idx="5">
                  <c:v>5.250811112948537E-2</c:v>
                </c:pt>
                <c:pt idx="6">
                  <c:v>5.1786336211324883E-2</c:v>
                </c:pt>
                <c:pt idx="7">
                  <c:v>6.522498927541806E-2</c:v>
                </c:pt>
                <c:pt idx="8">
                  <c:v>4.911419844039483E-2</c:v>
                </c:pt>
                <c:pt idx="9">
                  <c:v>7.5356403606570116E-2</c:v>
                </c:pt>
                <c:pt idx="10">
                  <c:v>3.265867710875529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Four Blade 1 Handle + 4 Cartri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17084297178723834</c:v>
                </c:pt>
                <c:pt idx="1">
                  <c:v>-1.719643527288521E-2</c:v>
                </c:pt>
                <c:pt idx="2">
                  <c:v>0.15300374452527984</c:v>
                </c:pt>
                <c:pt idx="3">
                  <c:v>-5.7360633036963864E-2</c:v>
                </c:pt>
                <c:pt idx="4">
                  <c:v>6.5783627444931686E-2</c:v>
                </c:pt>
                <c:pt idx="5">
                  <c:v>4.9330500581079725E-2</c:v>
                </c:pt>
                <c:pt idx="6">
                  <c:v>9.616279025395677E-3</c:v>
                </c:pt>
                <c:pt idx="7">
                  <c:v>1.6200445258705926E-2</c:v>
                </c:pt>
                <c:pt idx="8">
                  <c:v>2.1728536550707458E-2</c:v>
                </c:pt>
                <c:pt idx="9">
                  <c:v>-2.8585430548528069E-2</c:v>
                </c:pt>
                <c:pt idx="10">
                  <c:v>6.0824793597973013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1 Handle + 5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006C6D"/>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r>
                      <a:rPr lang="en-US" sz="500">
                        <a:solidFill>
                          <a:srgbClr val="006C6D"/>
                        </a:solidFill>
                      </a:rPr>
                      <a:t>Schick Hydro 5 Blade Sensitive 1 Handle + 5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Gillette Fusion 5 Proglide 1 Handle + 4 Cartridges</c:v>
                </c:pt>
                <c:pt idx="47">
                  <c:v>Schick Hydro 5 Blade Sensitive Refills 12 Pack</c:v>
                </c:pt>
                <c:pt idx="48">
                  <c:v>Schick Hydro 5 Blade Sensitive 1 Handle + 5 Cartridges</c:v>
                </c:pt>
                <c:pt idx="49">
                  <c:v>Schick Hydro 3 Blade Ultra Sensitive 1 Handle + 4 Cartridges</c:v>
                </c:pt>
                <c:pt idx="50">
                  <c:v>Gillette Sensor 3 Disposable Razors 8 Pack</c:v>
                </c:pt>
                <c:pt idx="51">
                  <c:v>Schick Hydro 5 Blade Sensitive 1 Handle + 3 Cartridges</c:v>
                </c:pt>
                <c:pt idx="52">
                  <c:v>Equate Caliber 3 Disposable Razors 3 Pack</c:v>
                </c:pt>
                <c:pt idx="53">
                  <c:v>Equate Easy Fit 5 Blade Refills 12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225639956030086</c:v>
                </c:pt>
                <c:pt idx="1">
                  <c:v>0.11191168175943883</c:v>
                </c:pt>
                <c:pt idx="2">
                  <c:v>0.1012467805749698</c:v>
                </c:pt>
                <c:pt idx="3">
                  <c:v>0.10082536638675713</c:v>
                </c:pt>
                <c:pt idx="4">
                  <c:v>8.7612360525121585E-2</c:v>
                </c:pt>
                <c:pt idx="5">
                  <c:v>6.5927644406690467E-2</c:v>
                </c:pt>
                <c:pt idx="6">
                  <c:v>5.5132138408475515E-2</c:v>
                </c:pt>
                <c:pt idx="7">
                  <c:v>5.4018237220751948E-2</c:v>
                </c:pt>
                <c:pt idx="8">
                  <c:v>5.4015403863799077E-2</c:v>
                </c:pt>
                <c:pt idx="9">
                  <c:v>4.7879493109994994E-2</c:v>
                </c:pt>
                <c:pt idx="10">
                  <c:v>4.3716247211769144E-2</c:v>
                </c:pt>
                <c:pt idx="11">
                  <c:v>4.3215535784137935E-2</c:v>
                </c:pt>
                <c:pt idx="12">
                  <c:v>4.0045251670577875E-2</c:v>
                </c:pt>
                <c:pt idx="13">
                  <c:v>3.8853318822082844E-2</c:v>
                </c:pt>
                <c:pt idx="14">
                  <c:v>3.7723426716765686E-2</c:v>
                </c:pt>
                <c:pt idx="15">
                  <c:v>3.5556508725128513E-2</c:v>
                </c:pt>
                <c:pt idx="16">
                  <c:v>3.5019131309718593E-2</c:v>
                </c:pt>
                <c:pt idx="17">
                  <c:v>2.8705737729596621E-2</c:v>
                </c:pt>
                <c:pt idx="18">
                  <c:v>2.7799850907146345E-2</c:v>
                </c:pt>
                <c:pt idx="19">
                  <c:v>2.6633849698305796E-2</c:v>
                </c:pt>
                <c:pt idx="20">
                  <c:v>2.5627108812830254E-2</c:v>
                </c:pt>
                <c:pt idx="21">
                  <c:v>2.5576940037926228E-2</c:v>
                </c:pt>
                <c:pt idx="22">
                  <c:v>2.539723403615269E-2</c:v>
                </c:pt>
                <c:pt idx="23">
                  <c:v>2.4534098627999271E-2</c:v>
                </c:pt>
                <c:pt idx="24">
                  <c:v>2.2753727927390638E-2</c:v>
                </c:pt>
                <c:pt idx="25">
                  <c:v>2.1837419955252277E-2</c:v>
                </c:pt>
                <c:pt idx="26">
                  <c:v>2.173884727573654E-2</c:v>
                </c:pt>
                <c:pt idx="27">
                  <c:v>2.1286115751272681E-2</c:v>
                </c:pt>
                <c:pt idx="28">
                  <c:v>2.1241036789150305E-2</c:v>
                </c:pt>
                <c:pt idx="29">
                  <c:v>2.0984314660948786E-2</c:v>
                </c:pt>
                <c:pt idx="30">
                  <c:v>2.0432296106302188E-2</c:v>
                </c:pt>
                <c:pt idx="31">
                  <c:v>2.0429643231700927E-2</c:v>
                </c:pt>
                <c:pt idx="32">
                  <c:v>1.9967498886251961E-2</c:v>
                </c:pt>
                <c:pt idx="33">
                  <c:v>1.8992277661839873E-2</c:v>
                </c:pt>
                <c:pt idx="34">
                  <c:v>1.8987442200008624E-2</c:v>
                </c:pt>
                <c:pt idx="35">
                  <c:v>1.8894300506052661E-2</c:v>
                </c:pt>
                <c:pt idx="36">
                  <c:v>1.8736544056029737E-2</c:v>
                </c:pt>
                <c:pt idx="37">
                  <c:v>1.8245333028128748E-2</c:v>
                </c:pt>
                <c:pt idx="38">
                  <c:v>1.8184431578449838E-2</c:v>
                </c:pt>
                <c:pt idx="39">
                  <c:v>1.7943886792568826E-2</c:v>
                </c:pt>
                <c:pt idx="40">
                  <c:v>1.7377463016969755E-2</c:v>
                </c:pt>
                <c:pt idx="41">
                  <c:v>1.6637519984219484E-2</c:v>
                </c:pt>
                <c:pt idx="42">
                  <c:v>1.6152521618430116E-2</c:v>
                </c:pt>
                <c:pt idx="43">
                  <c:v>1.592836482873014E-2</c:v>
                </c:pt>
                <c:pt idx="44">
                  <c:v>1.5791096482820111E-2</c:v>
                </c:pt>
                <c:pt idx="45">
                  <c:v>1.5591524745429497E-2</c:v>
                </c:pt>
                <c:pt idx="46">
                  <c:v>1.5383972370039621E-2</c:v>
                </c:pt>
                <c:pt idx="47">
                  <c:v>1.4939744874764984E-2</c:v>
                </c:pt>
                <c:pt idx="48">
                  <c:v>1.4551132040224466E-2</c:v>
                </c:pt>
                <c:pt idx="49">
                  <c:v>1.4418229334113228E-2</c:v>
                </c:pt>
                <c:pt idx="50">
                  <c:v>1.4066619926819783E-2</c:v>
                </c:pt>
                <c:pt idx="51">
                  <c:v>1.3990201922772989E-2</c:v>
                </c:pt>
                <c:pt idx="52">
                  <c:v>1.3907967661974489E-2</c:v>
                </c:pt>
                <c:pt idx="53">
                  <c:v>1.3333986898070012E-2</c:v>
                </c:pt>
                <c:pt idx="54">
                  <c:v>1.3188738685462609E-2</c:v>
                </c:pt>
                <c:pt idx="55">
                  <c:v>1.2588252460501922E-2</c:v>
                </c:pt>
                <c:pt idx="56">
                  <c:v>1.2579450454517645E-2</c:v>
                </c:pt>
                <c:pt idx="57">
                  <c:v>1.2515638340447558E-2</c:v>
                </c:pt>
                <c:pt idx="58">
                  <c:v>1.1917468197761275E-2</c:v>
                </c:pt>
                <c:pt idx="59">
                  <c:v>1.0672944954451662E-2</c:v>
                </c:pt>
                <c:pt idx="60">
                  <c:v>1.0068389904122585E-2</c:v>
                </c:pt>
                <c:pt idx="61">
                  <c:v>9.0440811326133515E-3</c:v>
                </c:pt>
                <c:pt idx="62">
                  <c:v>8.9738187259829332E-3</c:v>
                </c:pt>
                <c:pt idx="63">
                  <c:v>8.9557312403361865E-3</c:v>
                </c:pt>
                <c:pt idx="64">
                  <c:v>8.9172452033064141E-3</c:v>
                </c:pt>
                <c:pt idx="65">
                  <c:v>8.6230326815945665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1 Handle + 8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7ECAC4"/>
              </a:solidFill>
            </c:spPr>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006C6D"/>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r>
                      <a:rPr lang="en-US" sz="500">
                        <a:solidFill>
                          <a:srgbClr val="006C6D"/>
                        </a:solidFill>
                      </a:rPr>
                      <a:t>Schick Hydro 5 Blade Sensitive 1 Handle + 8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Mach 3 Blade Refills 4 Pack</c:v>
                </c:pt>
                <c:pt idx="3">
                  <c:v>Gillette Fusion 5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Schick Xtreme 3 Sensitive Disposable Razors 4 Pack</c:v>
                </c:pt>
                <c:pt idx="21">
                  <c:v>Gillette Fusion 5 1 Handle + 2 Cartridges</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Caliber 5 Disposable Razors 3 Pack</c:v>
                </c:pt>
                <c:pt idx="31">
                  <c:v>Equate Easy Fit 5 Blade Refills 8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Schick Hydro 5 Blade Sensitive Refills 12 Pack</c:v>
                </c:pt>
                <c:pt idx="47">
                  <c:v>Gillette Fusion 5 Proglide 1 Handle + 4 Cartridges</c:v>
                </c:pt>
                <c:pt idx="48">
                  <c:v>Schick Hydro 3 Blade Ultra Sensitive 1 Handle + 4 Cartridges</c:v>
                </c:pt>
                <c:pt idx="49">
                  <c:v>Schick Hydro 5 Blade Sensitive 1 Handle + 3 Cartridges</c:v>
                </c:pt>
                <c:pt idx="50">
                  <c:v>Schick Hydro 5 Blade Sensitive 1 Handle + 8 Cartridges</c:v>
                </c:pt>
                <c:pt idx="51">
                  <c:v>Gillette Sensor 3 Disposable Razors 8 Pack</c:v>
                </c:pt>
                <c:pt idx="52">
                  <c:v>Equate Caliber 3 Disposable Razors 3 Pack</c:v>
                </c:pt>
                <c:pt idx="53">
                  <c:v>Equate Easy Fit 5 Blade Refills 12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221683564218415</c:v>
                </c:pt>
                <c:pt idx="1">
                  <c:v>0.11116449615901035</c:v>
                </c:pt>
                <c:pt idx="2">
                  <c:v>0.10147257576209634</c:v>
                </c:pt>
                <c:pt idx="3">
                  <c:v>0.10128067089084643</c:v>
                </c:pt>
                <c:pt idx="4">
                  <c:v>8.744475097246554E-2</c:v>
                </c:pt>
                <c:pt idx="5">
                  <c:v>6.5848022563200909E-2</c:v>
                </c:pt>
                <c:pt idx="6">
                  <c:v>5.5117979106426122E-2</c:v>
                </c:pt>
                <c:pt idx="7">
                  <c:v>5.4019602640015624E-2</c:v>
                </c:pt>
                <c:pt idx="8">
                  <c:v>5.401874999160719E-2</c:v>
                </c:pt>
                <c:pt idx="9">
                  <c:v>4.8011388624492606E-2</c:v>
                </c:pt>
                <c:pt idx="10">
                  <c:v>4.373599374879962E-2</c:v>
                </c:pt>
                <c:pt idx="11">
                  <c:v>4.3278919479729352E-2</c:v>
                </c:pt>
                <c:pt idx="12">
                  <c:v>3.9950343545955905E-2</c:v>
                </c:pt>
                <c:pt idx="13">
                  <c:v>3.8667112427715443E-2</c:v>
                </c:pt>
                <c:pt idx="14">
                  <c:v>3.774059161942582E-2</c:v>
                </c:pt>
                <c:pt idx="15">
                  <c:v>3.516041698752647E-2</c:v>
                </c:pt>
                <c:pt idx="16">
                  <c:v>3.506393636676295E-2</c:v>
                </c:pt>
                <c:pt idx="17">
                  <c:v>2.8709892022236828E-2</c:v>
                </c:pt>
                <c:pt idx="18">
                  <c:v>2.7615289611465411E-2</c:v>
                </c:pt>
                <c:pt idx="19">
                  <c:v>2.6543018246188828E-2</c:v>
                </c:pt>
                <c:pt idx="20">
                  <c:v>2.5728911617324383E-2</c:v>
                </c:pt>
                <c:pt idx="21">
                  <c:v>2.5686506065320854E-2</c:v>
                </c:pt>
                <c:pt idx="22">
                  <c:v>2.5434791241182506E-2</c:v>
                </c:pt>
                <c:pt idx="23">
                  <c:v>2.4758606849994719E-2</c:v>
                </c:pt>
                <c:pt idx="24">
                  <c:v>2.2753330765967011E-2</c:v>
                </c:pt>
                <c:pt idx="25">
                  <c:v>2.1908762308006955E-2</c:v>
                </c:pt>
                <c:pt idx="26">
                  <c:v>2.1767476739721486E-2</c:v>
                </c:pt>
                <c:pt idx="27">
                  <c:v>2.1348123627781334E-2</c:v>
                </c:pt>
                <c:pt idx="28">
                  <c:v>2.1255741609734532E-2</c:v>
                </c:pt>
                <c:pt idx="29">
                  <c:v>2.1015084490234499E-2</c:v>
                </c:pt>
                <c:pt idx="30">
                  <c:v>2.0444324202186569E-2</c:v>
                </c:pt>
                <c:pt idx="31">
                  <c:v>2.0384289860411055E-2</c:v>
                </c:pt>
                <c:pt idx="32">
                  <c:v>2.0000788258262653E-2</c:v>
                </c:pt>
                <c:pt idx="33">
                  <c:v>1.9033435295130123E-2</c:v>
                </c:pt>
                <c:pt idx="34">
                  <c:v>1.8976585912203442E-2</c:v>
                </c:pt>
                <c:pt idx="35">
                  <c:v>1.89008896876347E-2</c:v>
                </c:pt>
                <c:pt idx="36">
                  <c:v>1.8749340068724474E-2</c:v>
                </c:pt>
                <c:pt idx="37">
                  <c:v>1.8261252555581507E-2</c:v>
                </c:pt>
                <c:pt idx="38">
                  <c:v>1.8024580469805981E-2</c:v>
                </c:pt>
                <c:pt idx="39">
                  <c:v>1.7731559833664236E-2</c:v>
                </c:pt>
                <c:pt idx="40">
                  <c:v>1.7411671072233029E-2</c:v>
                </c:pt>
                <c:pt idx="41">
                  <c:v>1.6504810157546214E-2</c:v>
                </c:pt>
                <c:pt idx="42">
                  <c:v>1.6138659834396388E-2</c:v>
                </c:pt>
                <c:pt idx="43">
                  <c:v>1.591454005040651E-2</c:v>
                </c:pt>
                <c:pt idx="44">
                  <c:v>1.5875757038453415E-2</c:v>
                </c:pt>
                <c:pt idx="45">
                  <c:v>1.5566840551292966E-2</c:v>
                </c:pt>
                <c:pt idx="46">
                  <c:v>1.5312368868485953E-2</c:v>
                </c:pt>
                <c:pt idx="47">
                  <c:v>1.5280847277254142E-2</c:v>
                </c:pt>
                <c:pt idx="48">
                  <c:v>1.4853676484756056E-2</c:v>
                </c:pt>
                <c:pt idx="49">
                  <c:v>1.4578631419614647E-2</c:v>
                </c:pt>
                <c:pt idx="50">
                  <c:v>1.4095113731544151E-2</c:v>
                </c:pt>
                <c:pt idx="51">
                  <c:v>1.4070104629636893E-2</c:v>
                </c:pt>
                <c:pt idx="52">
                  <c:v>1.3916747738034368E-2</c:v>
                </c:pt>
                <c:pt idx="53">
                  <c:v>1.3280151556117864E-2</c:v>
                </c:pt>
                <c:pt idx="54">
                  <c:v>1.3192587880210951E-2</c:v>
                </c:pt>
                <c:pt idx="55">
                  <c:v>1.2615672608200785E-2</c:v>
                </c:pt>
                <c:pt idx="56">
                  <c:v>1.2596252106954644E-2</c:v>
                </c:pt>
                <c:pt idx="57">
                  <c:v>1.2526678592800582E-2</c:v>
                </c:pt>
                <c:pt idx="58">
                  <c:v>1.1942594863504805E-2</c:v>
                </c:pt>
                <c:pt idx="59">
                  <c:v>1.0612571918868639E-2</c:v>
                </c:pt>
                <c:pt idx="60">
                  <c:v>1.0022800068643849E-2</c:v>
                </c:pt>
                <c:pt idx="61">
                  <c:v>9.0411001587599408E-3</c:v>
                </c:pt>
                <c:pt idx="62">
                  <c:v>9.0025080723886829E-3</c:v>
                </c:pt>
                <c:pt idx="63">
                  <c:v>8.9640908847437827E-3</c:v>
                </c:pt>
                <c:pt idx="64">
                  <c:v>8.8459028170405629E-3</c:v>
                </c:pt>
                <c:pt idx="65">
                  <c:v>8.6123517510853578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Chrome 1 Handle + 3 Cartridges + Docking Station/Stand + Travel Cover</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7ECAC4"/>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7ECAC4"/>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006C6D"/>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7ECAC4"/>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r>
                      <a:rPr lang="en-US" sz="500">
                        <a:solidFill>
                          <a:srgbClr val="006C6D"/>
                        </a:solidFill>
                      </a:rPr>
                      <a:t>Schick Hydro 5 Blade Chrome 1 Handle + 3 Cartridges + Docking Station/Stand + Travel Cove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Mach 3 Blade Refills 4 Pack</c:v>
                </c:pt>
                <c:pt idx="3">
                  <c:v>Gillette Fusion 5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Schick Hydro 3 Blade Ultra Sensitive Refills 5 Pack</c:v>
                </c:pt>
                <c:pt idx="12">
                  <c:v>Van Der Hagen Men Double Edge Blade Refills 10 Pack</c:v>
                </c:pt>
                <c:pt idx="13">
                  <c:v>Gillette Fusion 5 Proglide Blade Refills 8 Pack</c:v>
                </c:pt>
                <c:pt idx="14">
                  <c:v>Schick Hydro 5 Blade Sensitive Refills 6 Pack</c:v>
                </c:pt>
                <c:pt idx="15">
                  <c:v>Harry's 5 Blade 1 Handle + 2 Cartridges</c:v>
                </c:pt>
                <c:pt idx="16">
                  <c:v>Gillette Mach 3 Blade Refills 8 Pack</c:v>
                </c:pt>
                <c:pt idx="17">
                  <c:v>Harry's Men Five Blade Refills 12 Pack</c:v>
                </c:pt>
                <c:pt idx="18">
                  <c:v>Gillette Fusion 5 Blade Refills 12 Pack</c:v>
                </c:pt>
                <c:pt idx="19">
                  <c:v>Gillette Fusion 5 Proglide Blade Refills 12 Pack</c:v>
                </c:pt>
                <c:pt idx="20">
                  <c:v>Schick Xtreme 3 Sensitive Disposable Razors 4 Pack</c:v>
                </c:pt>
                <c:pt idx="21">
                  <c:v>Schick Xtreme 2 Sensitive Disposable Razors 12 Pack</c:v>
                </c:pt>
                <c:pt idx="22">
                  <c:v>Gillette Fusion 5 1 Handle + 2 Cartridges</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Caliber 5 Disposable Razors 3 Pack</c:v>
                </c:pt>
                <c:pt idx="31">
                  <c:v>Equate Easy Fit 5 Blade Refills 8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Schick Hydro 5 Blade Chrome 1 Handle + 3 Cartridges + Docking Station/Stand + Travel Cover</c:v>
                </c:pt>
                <c:pt idx="41">
                  <c:v>Dollar Shave Club 6 Blades Blade Refills 8 Pack</c:v>
                </c:pt>
                <c:pt idx="42">
                  <c:v>Schick Hydro 5 Blade Sensitive Refills 12 Pack</c:v>
                </c:pt>
                <c:pt idx="43">
                  <c:v>Gillette Mach 3 1 Handle + 6 Cartridges</c:v>
                </c:pt>
                <c:pt idx="44">
                  <c:v>Gillette Sensor 3 Sensitive Disposable Razors 12 Pack</c:v>
                </c:pt>
                <c:pt idx="45">
                  <c:v>Schick Xtreme 3 Sensitive Disposable Razors 8 Pack</c:v>
                </c:pt>
                <c:pt idx="46">
                  <c:v>Bic Flex 4 Sensitive Skin Disposable Razors 3 Pack</c:v>
                </c:pt>
                <c:pt idx="47">
                  <c:v>Gillette Fusion 5 1 Handle + 3 Cartridges Holiday Pack</c:v>
                </c:pt>
                <c:pt idx="48">
                  <c:v>Schick Hydro 5 Blade Sensitive 1 Handle + 3 Cartridges</c:v>
                </c:pt>
                <c:pt idx="49">
                  <c:v>Gillette Fusion 5 Proglide 1 Handle + 4 Cartridges</c:v>
                </c:pt>
                <c:pt idx="50">
                  <c:v>Schick Hydro 3 Blade Ultra Sensitive 1 Handle + 4 Cartridges</c:v>
                </c:pt>
                <c:pt idx="51">
                  <c:v>Gillette Sensor 3 Disposable Razors 8 Pack</c:v>
                </c:pt>
                <c:pt idx="52">
                  <c:v>Equate Caliber 3 Disposable Razors 3 Pack</c:v>
                </c:pt>
                <c:pt idx="53">
                  <c:v>Bic Men Sensitive Twin Blade Disposable Razors 10 Pack</c:v>
                </c:pt>
                <c:pt idx="54">
                  <c:v>Equate Easy Fit 5 Blade Refills 12 Pack</c:v>
                </c:pt>
                <c:pt idx="55">
                  <c:v>Bic Comfort 3 Sensitive Skin Disposable Razors 8 Pack</c:v>
                </c:pt>
                <c:pt idx="56">
                  <c:v>Equate Easy Fit 5 blades 1 Handle + 2 Cartridges</c:v>
                </c:pt>
                <c:pt idx="57">
                  <c:v>Bic Flex 5 Disposable Razors 4 Pack</c:v>
                </c:pt>
                <c:pt idx="58">
                  <c:v>Bic Flex 5 Disposable Razors 2 Pack</c:v>
                </c:pt>
                <c:pt idx="59">
                  <c:v>Gillette Sensor 2 Plus Pivot Head Disposable Razors 21 Pack</c:v>
                </c:pt>
                <c:pt idx="60">
                  <c:v>Schick Xtreme 3 Sensitive Disposable Razors 12 Pack</c:v>
                </c:pt>
                <c:pt idx="61">
                  <c:v>Gillette Mach 3 Sensitive Skin Disposable Razors 6 Pack</c:v>
                </c:pt>
                <c:pt idx="62">
                  <c:v>Bic Flex 5 Disposable Razors 6 Pack Holiday Pack</c:v>
                </c:pt>
                <c:pt idx="63">
                  <c:v>Van Der Hagen Men Double Edge Blade 1 Handle + 5 Cartridges</c:v>
                </c:pt>
                <c:pt idx="64">
                  <c:v>Gillette Sensor 2 Pivot Head Disposable Razors 25 Pack</c:v>
                </c:pt>
                <c:pt idx="65">
                  <c:v>Gillette Mach 3 Blade Refills 15 Pack</c:v>
                </c:pt>
              </c:strCache>
            </c:strRef>
          </c:cat>
          <c:val>
            <c:numRef>
              <c:f>Sheet1!$B$2:$B$67</c:f>
              <c:numCache>
                <c:formatCode>General</c:formatCode>
                <c:ptCount val="66"/>
                <c:pt idx="0">
                  <c:v>0.20178782223359171</c:v>
                </c:pt>
                <c:pt idx="1">
                  <c:v>0.11173125918678156</c:v>
                </c:pt>
                <c:pt idx="2">
                  <c:v>0.10035659900187938</c:v>
                </c:pt>
                <c:pt idx="3">
                  <c:v>0.10019268546733084</c:v>
                </c:pt>
                <c:pt idx="4">
                  <c:v>8.6918297058080032E-2</c:v>
                </c:pt>
                <c:pt idx="5">
                  <c:v>6.5806831637132399E-2</c:v>
                </c:pt>
                <c:pt idx="6">
                  <c:v>5.5085133243929239E-2</c:v>
                </c:pt>
                <c:pt idx="7">
                  <c:v>5.3999415081714894E-2</c:v>
                </c:pt>
                <c:pt idx="8">
                  <c:v>5.3969784107174894E-2</c:v>
                </c:pt>
                <c:pt idx="9">
                  <c:v>4.7531213518383443E-2</c:v>
                </c:pt>
                <c:pt idx="10">
                  <c:v>4.3379033293957807E-2</c:v>
                </c:pt>
                <c:pt idx="11">
                  <c:v>4.2991938909396725E-2</c:v>
                </c:pt>
                <c:pt idx="12">
                  <c:v>4.2953235396678328E-2</c:v>
                </c:pt>
                <c:pt idx="13">
                  <c:v>3.849988240261247E-2</c:v>
                </c:pt>
                <c:pt idx="14">
                  <c:v>3.7641108547497477E-2</c:v>
                </c:pt>
                <c:pt idx="15">
                  <c:v>3.7584548312318528E-2</c:v>
                </c:pt>
                <c:pt idx="16">
                  <c:v>3.4360474770768638E-2</c:v>
                </c:pt>
                <c:pt idx="17">
                  <c:v>2.868616505616893E-2</c:v>
                </c:pt>
                <c:pt idx="18">
                  <c:v>2.7472026009092081E-2</c:v>
                </c:pt>
                <c:pt idx="19">
                  <c:v>2.6452056781202254E-2</c:v>
                </c:pt>
                <c:pt idx="20">
                  <c:v>2.5658691113020493E-2</c:v>
                </c:pt>
                <c:pt idx="21">
                  <c:v>2.544766211332514E-2</c:v>
                </c:pt>
                <c:pt idx="22">
                  <c:v>2.5395256620260282E-2</c:v>
                </c:pt>
                <c:pt idx="23">
                  <c:v>2.4257877865842572E-2</c:v>
                </c:pt>
                <c:pt idx="24">
                  <c:v>2.2685524721181936E-2</c:v>
                </c:pt>
                <c:pt idx="25">
                  <c:v>2.1828356808484536E-2</c:v>
                </c:pt>
                <c:pt idx="26">
                  <c:v>2.1771524204849645E-2</c:v>
                </c:pt>
                <c:pt idx="27">
                  <c:v>2.1287410740369609E-2</c:v>
                </c:pt>
                <c:pt idx="28">
                  <c:v>2.121534631498876E-2</c:v>
                </c:pt>
                <c:pt idx="29">
                  <c:v>2.092103113862236E-2</c:v>
                </c:pt>
                <c:pt idx="30">
                  <c:v>2.0427140178779741E-2</c:v>
                </c:pt>
                <c:pt idx="31">
                  <c:v>1.9999053160567642E-2</c:v>
                </c:pt>
                <c:pt idx="32">
                  <c:v>1.9904481702811592E-2</c:v>
                </c:pt>
                <c:pt idx="33">
                  <c:v>1.8922087315551242E-2</c:v>
                </c:pt>
                <c:pt idx="34">
                  <c:v>1.8903182823216843E-2</c:v>
                </c:pt>
                <c:pt idx="35">
                  <c:v>1.8719743876796795E-2</c:v>
                </c:pt>
                <c:pt idx="36">
                  <c:v>1.8713488535106612E-2</c:v>
                </c:pt>
                <c:pt idx="37">
                  <c:v>1.8147988642045892E-2</c:v>
                </c:pt>
                <c:pt idx="38">
                  <c:v>1.78477922170906E-2</c:v>
                </c:pt>
                <c:pt idx="39">
                  <c:v>1.7611293359225927E-2</c:v>
                </c:pt>
                <c:pt idx="40">
                  <c:v>1.7606602318016439E-2</c:v>
                </c:pt>
                <c:pt idx="41">
                  <c:v>1.728133701520182E-2</c:v>
                </c:pt>
                <c:pt idx="42">
                  <c:v>1.621158837922208E-2</c:v>
                </c:pt>
                <c:pt idx="43">
                  <c:v>1.6162757427235046E-2</c:v>
                </c:pt>
                <c:pt idx="44">
                  <c:v>1.6044317910651106E-2</c:v>
                </c:pt>
                <c:pt idx="45">
                  <c:v>1.5931396788839352E-2</c:v>
                </c:pt>
                <c:pt idx="46">
                  <c:v>1.5792758301232265E-2</c:v>
                </c:pt>
                <c:pt idx="47">
                  <c:v>1.5465069451034924E-2</c:v>
                </c:pt>
                <c:pt idx="48">
                  <c:v>1.4948394514938021E-2</c:v>
                </c:pt>
                <c:pt idx="49">
                  <c:v>1.4930106134494371E-2</c:v>
                </c:pt>
                <c:pt idx="50">
                  <c:v>1.4908186457073204E-2</c:v>
                </c:pt>
                <c:pt idx="51">
                  <c:v>1.3935544695593292E-2</c:v>
                </c:pt>
                <c:pt idx="52">
                  <c:v>1.3912111641295122E-2</c:v>
                </c:pt>
                <c:pt idx="53">
                  <c:v>1.3138840964781646E-2</c:v>
                </c:pt>
                <c:pt idx="54">
                  <c:v>1.3066623788553132E-2</c:v>
                </c:pt>
                <c:pt idx="55">
                  <c:v>1.2560523861024445E-2</c:v>
                </c:pt>
                <c:pt idx="56">
                  <c:v>1.2475045399079244E-2</c:v>
                </c:pt>
                <c:pt idx="57">
                  <c:v>1.2453494699609866E-2</c:v>
                </c:pt>
                <c:pt idx="58">
                  <c:v>1.1892733312925405E-2</c:v>
                </c:pt>
                <c:pt idx="59">
                  <c:v>1.0406231208160458E-2</c:v>
                </c:pt>
                <c:pt idx="60">
                  <c:v>1.0012848637230159E-2</c:v>
                </c:pt>
                <c:pt idx="61">
                  <c:v>8.9369877123944407E-3</c:v>
                </c:pt>
                <c:pt idx="62">
                  <c:v>8.9123916523762801E-3</c:v>
                </c:pt>
                <c:pt idx="63">
                  <c:v>8.8953394828608732E-3</c:v>
                </c:pt>
                <c:pt idx="64">
                  <c:v>8.6422972056641907E-3</c:v>
                </c:pt>
                <c:pt idx="65">
                  <c:v>8.4120275726827613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Blade Pro Sensitiv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0.3909627133189828</c:v>
                </c:pt>
                <c:pt idx="1">
                  <c:v>0.10624177484696291</c:v>
                </c:pt>
                <c:pt idx="2">
                  <c:v>5.6320002197278597E-2</c:v>
                </c:pt>
                <c:pt idx="3">
                  <c:v>4.99415044795977E-2</c:v>
                </c:pt>
                <c:pt idx="4">
                  <c:v>4.7637484207696125E-2</c:v>
                </c:pt>
                <c:pt idx="5">
                  <c:v>3.3943459021671445E-2</c:v>
                </c:pt>
                <c:pt idx="6">
                  <c:v>2.5340023627626589E-2</c:v>
                </c:pt>
                <c:pt idx="7">
                  <c:v>0.11041857843843475</c:v>
                </c:pt>
                <c:pt idx="8">
                  <c:v>2.4214406447208771E-2</c:v>
                </c:pt>
                <c:pt idx="9">
                  <c:v>2.1068106324111234E-2</c:v>
                </c:pt>
                <c:pt idx="10">
                  <c:v>2.0731598717248893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Groomer 1 Handle + 1 Cartridge</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7ECAC4"/>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7ECAC4"/>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006C6D"/>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r>
                      <a:rPr lang="en-US" sz="500">
                        <a:solidFill>
                          <a:srgbClr val="006C6D"/>
                        </a:solidFill>
                      </a:rPr>
                      <a:t>Schick Hydro 5 Groomer 1 Handle + 1 Cartridge</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Schick Hydro 3 Blade Ultra Sensitive Refills 5 Pack</c:v>
                </c:pt>
                <c:pt idx="14">
                  <c:v>Harry's 5 Blade 1 Handle + 2 Cartridges</c:v>
                </c:pt>
                <c:pt idx="15">
                  <c:v>Gillette Mach 3 Blade Refills 8 Pack</c:v>
                </c:pt>
                <c:pt idx="16">
                  <c:v>Schick Hydro 5 Blade Sensitive Refills 6 Pack</c:v>
                </c:pt>
                <c:pt idx="17">
                  <c:v>Harry's Men Five Blade Refills 12 Pack</c:v>
                </c:pt>
                <c:pt idx="18">
                  <c:v>Gillette Fusion 5 Blade Refills 12 Pack</c:v>
                </c:pt>
                <c:pt idx="19">
                  <c:v>Gillette Fusion 5 Proglide Blade Refills 12 Pack</c:v>
                </c:pt>
                <c:pt idx="20">
                  <c:v>Schick Xtreme 3 Sensitive Disposable Razors 4 Pack</c:v>
                </c:pt>
                <c:pt idx="21">
                  <c:v>Gillette Fusion 5 1 Handle + 2 Cartridges</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Schick Xtreme 3 Sensitive Disposable Razors 8 Pack</c:v>
                </c:pt>
                <c:pt idx="43">
                  <c:v>Gillette Sensor 3 Sensitive Disposable Razors 12 Pack</c:v>
                </c:pt>
                <c:pt idx="44">
                  <c:v>Bic Flex 4 Sensitive Skin Disposable Razors 3 Pack</c:v>
                </c:pt>
                <c:pt idx="45">
                  <c:v>Gillette Fusion 5 1 Handle + 3 Cartridges Holiday Pack</c:v>
                </c:pt>
                <c:pt idx="46">
                  <c:v>Schick Hydro 5 Blade Sensitive 1 Handle + 3 Cartridges</c:v>
                </c:pt>
                <c:pt idx="47">
                  <c:v>Gillette Fusion 5 Proglide 1 Handle + 4 Cartridges</c:v>
                </c:pt>
                <c:pt idx="48">
                  <c:v>Schick Hydro 3 Blade Ultra Sensitive 1 Handle + 4 Cartridges</c:v>
                </c:pt>
                <c:pt idx="49">
                  <c:v>Schick Hydro 5 Blade Sensitive Refills 12 Pack</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Schick Hydro 5 Groomer 1 Handle + 1 Cartridge</c:v>
                </c:pt>
              </c:strCache>
            </c:strRef>
          </c:cat>
          <c:val>
            <c:numRef>
              <c:f>Sheet1!$B$2:$B$67</c:f>
              <c:numCache>
                <c:formatCode>General</c:formatCode>
                <c:ptCount val="66"/>
                <c:pt idx="0">
                  <c:v>0.2024661058257419</c:v>
                </c:pt>
                <c:pt idx="1">
                  <c:v>0.1125174594337006</c:v>
                </c:pt>
                <c:pt idx="2">
                  <c:v>0.10189482350106653</c:v>
                </c:pt>
                <c:pt idx="3">
                  <c:v>0.10189056746243816</c:v>
                </c:pt>
                <c:pt idx="4">
                  <c:v>8.7921139008792337E-2</c:v>
                </c:pt>
                <c:pt idx="5">
                  <c:v>6.6036097888350354E-2</c:v>
                </c:pt>
                <c:pt idx="6">
                  <c:v>5.5149005507563569E-2</c:v>
                </c:pt>
                <c:pt idx="7">
                  <c:v>5.4037957163946666E-2</c:v>
                </c:pt>
                <c:pt idx="8">
                  <c:v>5.4027807291207521E-2</c:v>
                </c:pt>
                <c:pt idx="9">
                  <c:v>4.8230501100577514E-2</c:v>
                </c:pt>
                <c:pt idx="10">
                  <c:v>4.3855588416927264E-2</c:v>
                </c:pt>
                <c:pt idx="11">
                  <c:v>4.3327681724431785E-2</c:v>
                </c:pt>
                <c:pt idx="12">
                  <c:v>3.9034902642014875E-2</c:v>
                </c:pt>
                <c:pt idx="13">
                  <c:v>3.8313104856832057E-2</c:v>
                </c:pt>
                <c:pt idx="14">
                  <c:v>3.7671333884582825E-2</c:v>
                </c:pt>
                <c:pt idx="15">
                  <c:v>3.5402963776513398E-2</c:v>
                </c:pt>
                <c:pt idx="16">
                  <c:v>3.3573183776267002E-2</c:v>
                </c:pt>
                <c:pt idx="17">
                  <c:v>2.8763774331906907E-2</c:v>
                </c:pt>
                <c:pt idx="18">
                  <c:v>2.7902527405361931E-2</c:v>
                </c:pt>
                <c:pt idx="19">
                  <c:v>2.6735618067412811E-2</c:v>
                </c:pt>
                <c:pt idx="20">
                  <c:v>2.5853094923260839E-2</c:v>
                </c:pt>
                <c:pt idx="21">
                  <c:v>2.5808771696624197E-2</c:v>
                </c:pt>
                <c:pt idx="22">
                  <c:v>2.552724772158144E-2</c:v>
                </c:pt>
                <c:pt idx="23">
                  <c:v>2.4899979936311375E-2</c:v>
                </c:pt>
                <c:pt idx="24">
                  <c:v>2.2792288150041095E-2</c:v>
                </c:pt>
                <c:pt idx="25">
                  <c:v>2.1937241618060141E-2</c:v>
                </c:pt>
                <c:pt idx="26">
                  <c:v>2.1800776868630169E-2</c:v>
                </c:pt>
                <c:pt idx="27">
                  <c:v>2.1382047479356344E-2</c:v>
                </c:pt>
                <c:pt idx="28">
                  <c:v>2.1268242479493125E-2</c:v>
                </c:pt>
                <c:pt idx="29">
                  <c:v>2.1037477678954978E-2</c:v>
                </c:pt>
                <c:pt idx="30">
                  <c:v>2.0541114962811035E-2</c:v>
                </c:pt>
                <c:pt idx="31">
                  <c:v>2.0464733299426382E-2</c:v>
                </c:pt>
                <c:pt idx="32">
                  <c:v>2.002734314552744E-2</c:v>
                </c:pt>
                <c:pt idx="33">
                  <c:v>1.904864358513236E-2</c:v>
                </c:pt>
                <c:pt idx="34">
                  <c:v>1.9038766199016083E-2</c:v>
                </c:pt>
                <c:pt idx="35">
                  <c:v>1.8918129528100246E-2</c:v>
                </c:pt>
                <c:pt idx="36">
                  <c:v>1.8764504981462059E-2</c:v>
                </c:pt>
                <c:pt idx="37">
                  <c:v>1.8306400860144796E-2</c:v>
                </c:pt>
                <c:pt idx="38">
                  <c:v>1.8241078346337626E-2</c:v>
                </c:pt>
                <c:pt idx="39">
                  <c:v>1.7988647076324644E-2</c:v>
                </c:pt>
                <c:pt idx="40">
                  <c:v>1.7435120924546497E-2</c:v>
                </c:pt>
                <c:pt idx="41">
                  <c:v>1.6744242997912696E-2</c:v>
                </c:pt>
                <c:pt idx="42">
                  <c:v>1.6266883432738185E-2</c:v>
                </c:pt>
                <c:pt idx="43">
                  <c:v>1.6194346651378852E-2</c:v>
                </c:pt>
                <c:pt idx="44">
                  <c:v>1.5914157202815856E-2</c:v>
                </c:pt>
                <c:pt idx="45">
                  <c:v>1.5750850313552212E-2</c:v>
                </c:pt>
                <c:pt idx="46">
                  <c:v>1.559416119230032E-2</c:v>
                </c:pt>
                <c:pt idx="47">
                  <c:v>1.5433094820534607E-2</c:v>
                </c:pt>
                <c:pt idx="48">
                  <c:v>1.5409744363994508E-2</c:v>
                </c:pt>
                <c:pt idx="49">
                  <c:v>1.4589033773006778E-2</c:v>
                </c:pt>
                <c:pt idx="50">
                  <c:v>1.4110375208049562E-2</c:v>
                </c:pt>
                <c:pt idx="51">
                  <c:v>1.3923839294910539E-2</c:v>
                </c:pt>
                <c:pt idx="52">
                  <c:v>1.3399903161115591E-2</c:v>
                </c:pt>
                <c:pt idx="53">
                  <c:v>1.3203803681729987E-2</c:v>
                </c:pt>
                <c:pt idx="54">
                  <c:v>1.2658913917072372E-2</c:v>
                </c:pt>
                <c:pt idx="55">
                  <c:v>1.2609875858371438E-2</c:v>
                </c:pt>
                <c:pt idx="56">
                  <c:v>1.2602472888827267E-2</c:v>
                </c:pt>
                <c:pt idx="57">
                  <c:v>1.1985409171914246E-2</c:v>
                </c:pt>
                <c:pt idx="58">
                  <c:v>1.0707562010107533E-2</c:v>
                </c:pt>
                <c:pt idx="59">
                  <c:v>1.019662009515853E-2</c:v>
                </c:pt>
                <c:pt idx="60">
                  <c:v>9.0634139853925221E-3</c:v>
                </c:pt>
                <c:pt idx="61">
                  <c:v>9.0340270038502569E-3</c:v>
                </c:pt>
                <c:pt idx="62">
                  <c:v>9.0206045591943972E-3</c:v>
                </c:pt>
                <c:pt idx="63">
                  <c:v>8.9374385044338998E-3</c:v>
                </c:pt>
                <c:pt idx="64">
                  <c:v>8.6862473938854115E-3</c:v>
                </c:pt>
                <c:pt idx="65">
                  <c:v>8.1291839909738116E-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5 Blade Sensitive 1 Handle + 5 Cartridges @14.97</c:v>
                </c:pt>
                <c:pt idx="1">
                  <c:v>Schick Hydro 5 Blade Sensitive 1 Handle + 8 Cartridges @19.97</c:v>
                </c:pt>
                <c:pt idx="2">
                  <c:v>Schick Hydro 5 Blade Chrome 1 Handle + 3 Cartridges + Docking Station/Stand + Travel Cover @19.97</c:v>
                </c:pt>
                <c:pt idx="3">
                  <c:v>Schick Hydro 5 Groomer 1 Handle + 1 Cartridge @14.97</c:v>
                </c:pt>
              </c:strCache>
            </c:strRef>
          </c:cat>
          <c:val>
            <c:numRef>
              <c:f>Sheet1!$B$2:$B$5</c:f>
              <c:numCache>
                <c:formatCode>General</c:formatCode>
                <c:ptCount val="4"/>
                <c:pt idx="0">
                  <c:v>134.12041039022225</c:v>
                </c:pt>
                <c:pt idx="1">
                  <c:v>136.28121521476803</c:v>
                </c:pt>
                <c:pt idx="2">
                  <c:v>149.35523485287234</c:v>
                </c:pt>
                <c:pt idx="3">
                  <c:v>119.936205563466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5 Blade Sensitive 1 Handle + 5 Cartridges @14.97</c:v>
                </c:pt>
                <c:pt idx="1">
                  <c:v>Schick Hydro 5 Blade Sensitive 1 Handle + 8 Cartridges @19.97</c:v>
                </c:pt>
                <c:pt idx="2">
                  <c:v>Schick Hydro 5 Blade Chrome 1 Handle + 3 Cartridges + Docking Station/Stand + Travel Cover @19.97</c:v>
                </c:pt>
                <c:pt idx="3">
                  <c:v>Schick Hydro 5 Groomer 1 Handle + 1 Cartridge @14.97</c:v>
                </c:pt>
              </c:strCache>
            </c:strRef>
          </c:cat>
          <c:val>
            <c:numRef>
              <c:f>Sheet1!$C$2:$C$5</c:f>
              <c:numCache>
                <c:formatCode>General</c:formatCode>
                <c:ptCount val="4"/>
                <c:pt idx="0">
                  <c:v>158.66063008880244</c:v>
                </c:pt>
                <c:pt idx="1">
                  <c:v>183.95544051242396</c:v>
                </c:pt>
                <c:pt idx="2">
                  <c:v>208.15619105451768</c:v>
                </c:pt>
                <c:pt idx="3">
                  <c:v>132.9669347491013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5 Blade Sensitive 1 Handle + 5 Cartridges @14.97</c:v>
                </c:pt>
                <c:pt idx="1">
                  <c:v>Schick Hydro 5 Blade Sensitive 1 Handle + 8 Cartridges @19.97</c:v>
                </c:pt>
                <c:pt idx="2">
                  <c:v>Schick Hydro 5 Blade Chrome 1 Handle + 3 Cartridges + Docking Station/Stand + Travel Cover @19.97</c:v>
                </c:pt>
                <c:pt idx="3">
                  <c:v>Schick Hydro 5 Groomer 1 Handle + 1 Cartridge @14.97</c:v>
                </c:pt>
              </c:strCache>
            </c:strRef>
          </c:cat>
          <c:val>
            <c:numRef>
              <c:f>Sheet1!$D$2:$D$5</c:f>
              <c:numCache>
                <c:formatCode>General</c:formatCode>
                <c:ptCount val="4"/>
                <c:pt idx="0">
                  <c:v>174.424094196986</c:v>
                </c:pt>
                <c:pt idx="1">
                  <c:v>206.48649972282652</c:v>
                </c:pt>
                <c:pt idx="2">
                  <c:v>203.54176936809054</c:v>
                </c:pt>
                <c:pt idx="3">
                  <c:v>138.5619217054122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5 Blade Sensitive 1 Handle + 5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28806063596895443</c:v>
                </c:pt>
                <c:pt idx="1">
                  <c:v>0.13757646029363946</c:v>
                </c:pt>
                <c:pt idx="2">
                  <c:v>0.12992062971517762</c:v>
                </c:pt>
                <c:pt idx="3">
                  <c:v>8.5499695945689805E-2</c:v>
                </c:pt>
                <c:pt idx="4">
                  <c:v>6.418165870686883E-2</c:v>
                </c:pt>
                <c:pt idx="5">
                  <c:v>4.9100981709341081E-2</c:v>
                </c:pt>
                <c:pt idx="6">
                  <c:v>5.4851368205751053E-2</c:v>
                </c:pt>
                <c:pt idx="7">
                  <c:v>5.9638316544217966E-2</c:v>
                </c:pt>
                <c:pt idx="8">
                  <c:v>5.2531872201909087E-2</c:v>
                </c:pt>
                <c:pt idx="9">
                  <c:v>4.3188024423344629E-2</c:v>
                </c:pt>
                <c:pt idx="10">
                  <c:v>3.6291044750107512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Blade Sensitive 1 Handle + 8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22621938336600358</c:v>
                </c:pt>
                <c:pt idx="1">
                  <c:v>0.20747287796193986</c:v>
                </c:pt>
                <c:pt idx="2">
                  <c:v>7.1963001620201278E-2</c:v>
                </c:pt>
                <c:pt idx="3">
                  <c:v>8.1553929539739611E-2</c:v>
                </c:pt>
                <c:pt idx="4">
                  <c:v>6.6330923117582333E-2</c:v>
                </c:pt>
                <c:pt idx="5">
                  <c:v>6.4034294163323097E-2</c:v>
                </c:pt>
                <c:pt idx="6">
                  <c:v>5.1368970315422327E-2</c:v>
                </c:pt>
                <c:pt idx="7">
                  <c:v>4.123886672825481E-2</c:v>
                </c:pt>
                <c:pt idx="8">
                  <c:v>4.160977322023459E-2</c:v>
                </c:pt>
                <c:pt idx="9">
                  <c:v>3.9153818548977003E-2</c:v>
                </c:pt>
                <c:pt idx="10">
                  <c:v>3.527639181250311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Blade Chrome 1 Handle + 3 Cartridges + Docking Station/Stand + Travel Cover</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14984130181422381</c:v>
                </c:pt>
                <c:pt idx="1">
                  <c:v>0.12862812439580681</c:v>
                </c:pt>
                <c:pt idx="2">
                  <c:v>0.13253866991344426</c:v>
                </c:pt>
                <c:pt idx="3">
                  <c:v>0.1217004378987486</c:v>
                </c:pt>
                <c:pt idx="4">
                  <c:v>5.5871942204594106E-2</c:v>
                </c:pt>
                <c:pt idx="5">
                  <c:v>7.7147783239767273E-2</c:v>
                </c:pt>
                <c:pt idx="6">
                  <c:v>9.1933989171832459E-2</c:v>
                </c:pt>
                <c:pt idx="7">
                  <c:v>6.6732268704975908E-2</c:v>
                </c:pt>
                <c:pt idx="8">
                  <c:v>6.0961494379392703E-2</c:v>
                </c:pt>
                <c:pt idx="9">
                  <c:v>5.0725221536486412E-2</c:v>
                </c:pt>
                <c:pt idx="10">
                  <c:v>5.2052614753422613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Groomer 1 Handle + 1 Cartridge</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22209220881503711</c:v>
                </c:pt>
                <c:pt idx="1">
                  <c:v>0.17025012120713301</c:v>
                </c:pt>
                <c:pt idx="2">
                  <c:v>8.0391407077445562E-2</c:v>
                </c:pt>
                <c:pt idx="3">
                  <c:v>8.5973601313334022E-2</c:v>
                </c:pt>
                <c:pt idx="4">
                  <c:v>0.110721367586984</c:v>
                </c:pt>
                <c:pt idx="5">
                  <c:v>5.9907069578285885E-2</c:v>
                </c:pt>
                <c:pt idx="6">
                  <c:v>5.1438017115533897E-2</c:v>
                </c:pt>
                <c:pt idx="7">
                  <c:v>5.2597575341456849E-2</c:v>
                </c:pt>
                <c:pt idx="8">
                  <c:v>5.1415069464303492E-2</c:v>
                </c:pt>
                <c:pt idx="9">
                  <c:v>5.2433296233847654E-2</c:v>
                </c:pt>
                <c:pt idx="10">
                  <c:v>5.0976120094988309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Wilkinson Sword Classic Double Edge 1 Handle + 5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7ECAC4"/>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lang="en-US" sz="500">
                        <a:solidFill>
                          <a:srgbClr val="006C6D"/>
                        </a:solidFill>
                      </a:rPr>
                      <a:t>Wilkinson Sword Classic Double Edge 1 Handle + 5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Van Der Hagen Men Double Edge Blade Refills 10 Pack</c:v>
                </c:pt>
                <c:pt idx="10">
                  <c:v>Equate Easy Fit 5 Blade Refills 4 Pack</c:v>
                </c:pt>
                <c:pt idx="11">
                  <c:v>Dollar Shave Club 6 Blades Blade Refills 4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Bic Flex 4 Sensitive Skin Disposable Razors 3 Pack</c:v>
                </c:pt>
                <c:pt idx="46">
                  <c:v>Gillette Fusion 5 1 Handle + 3 Cartridges Holiday Pack</c:v>
                </c:pt>
                <c:pt idx="47">
                  <c:v>Schick Hydro 3 Blade Ultra Sensitive 1 Handle + 4 Cartridges</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Bic Flex 5 Disposable Razors 4 Pack</c:v>
                </c:pt>
                <c:pt idx="55">
                  <c:v>Equate Easy Fit 5 blades 1 Handle + 2 Cartridges</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Wilkinson Sword Classic Double Edge 1 Handle + 5 Cartridges</c:v>
                </c:pt>
              </c:strCache>
            </c:strRef>
          </c:cat>
          <c:val>
            <c:numRef>
              <c:f>Sheet1!$B$2:$B$67</c:f>
              <c:numCache>
                <c:formatCode>General</c:formatCode>
                <c:ptCount val="66"/>
                <c:pt idx="0">
                  <c:v>0.20202630900644322</c:v>
                </c:pt>
                <c:pt idx="1">
                  <c:v>0.11335970208624772</c:v>
                </c:pt>
                <c:pt idx="2">
                  <c:v>0.10227641281495661</c:v>
                </c:pt>
                <c:pt idx="3">
                  <c:v>0.10200711514644255</c:v>
                </c:pt>
                <c:pt idx="4">
                  <c:v>8.8333832788561745E-2</c:v>
                </c:pt>
                <c:pt idx="5">
                  <c:v>6.5929241016563778E-2</c:v>
                </c:pt>
                <c:pt idx="6">
                  <c:v>5.5067358115910889E-2</c:v>
                </c:pt>
                <c:pt idx="7">
                  <c:v>5.3989571382340819E-2</c:v>
                </c:pt>
                <c:pt idx="8">
                  <c:v>5.3947462901349642E-2</c:v>
                </c:pt>
                <c:pt idx="9">
                  <c:v>5.0010231202180254E-2</c:v>
                </c:pt>
                <c:pt idx="10">
                  <c:v>4.8301665773399428E-2</c:v>
                </c:pt>
                <c:pt idx="11">
                  <c:v>4.3871769014860888E-2</c:v>
                </c:pt>
                <c:pt idx="12">
                  <c:v>3.9227557505215338E-2</c:v>
                </c:pt>
                <c:pt idx="13">
                  <c:v>3.75313495925053E-2</c:v>
                </c:pt>
                <c:pt idx="14">
                  <c:v>3.5517041700386928E-2</c:v>
                </c:pt>
                <c:pt idx="15">
                  <c:v>3.4779660609684293E-2</c:v>
                </c:pt>
                <c:pt idx="16">
                  <c:v>3.0312458705263567E-2</c:v>
                </c:pt>
                <c:pt idx="17">
                  <c:v>2.8776357025469594E-2</c:v>
                </c:pt>
                <c:pt idx="18">
                  <c:v>2.8031684019483038E-2</c:v>
                </c:pt>
                <c:pt idx="19">
                  <c:v>2.6833335384812189E-2</c:v>
                </c:pt>
                <c:pt idx="20">
                  <c:v>2.585579640659065E-2</c:v>
                </c:pt>
                <c:pt idx="21">
                  <c:v>2.5841052753295173E-2</c:v>
                </c:pt>
                <c:pt idx="22">
                  <c:v>2.5411687176955126E-2</c:v>
                </c:pt>
                <c:pt idx="23">
                  <c:v>2.4782074590489304E-2</c:v>
                </c:pt>
                <c:pt idx="24">
                  <c:v>2.2682728666280638E-2</c:v>
                </c:pt>
                <c:pt idx="25">
                  <c:v>2.1938469976791282E-2</c:v>
                </c:pt>
                <c:pt idx="26">
                  <c:v>2.1790373108850618E-2</c:v>
                </c:pt>
                <c:pt idx="27">
                  <c:v>2.1384351334568116E-2</c:v>
                </c:pt>
                <c:pt idx="28">
                  <c:v>2.1245150083146754E-2</c:v>
                </c:pt>
                <c:pt idx="29">
                  <c:v>2.1029593814979469E-2</c:v>
                </c:pt>
                <c:pt idx="30">
                  <c:v>2.0607620619788755E-2</c:v>
                </c:pt>
                <c:pt idx="31">
                  <c:v>2.0448707734510008E-2</c:v>
                </c:pt>
                <c:pt idx="32">
                  <c:v>2.0009857554416133E-2</c:v>
                </c:pt>
                <c:pt idx="33">
                  <c:v>1.904468568094584E-2</c:v>
                </c:pt>
                <c:pt idx="34">
                  <c:v>1.8987034943056688E-2</c:v>
                </c:pt>
                <c:pt idx="35">
                  <c:v>1.8913599537922109E-2</c:v>
                </c:pt>
                <c:pt idx="36">
                  <c:v>1.8745939622217093E-2</c:v>
                </c:pt>
                <c:pt idx="37">
                  <c:v>1.8300372794932917E-2</c:v>
                </c:pt>
                <c:pt idx="38">
                  <c:v>1.8266594414567593E-2</c:v>
                </c:pt>
                <c:pt idx="39">
                  <c:v>1.8046020920625728E-2</c:v>
                </c:pt>
                <c:pt idx="40">
                  <c:v>1.7424197934266802E-2</c:v>
                </c:pt>
                <c:pt idx="41">
                  <c:v>1.6730190803918459E-2</c:v>
                </c:pt>
                <c:pt idx="42">
                  <c:v>1.6479471527007357E-2</c:v>
                </c:pt>
                <c:pt idx="43">
                  <c:v>1.6299807549604771E-2</c:v>
                </c:pt>
                <c:pt idx="44">
                  <c:v>1.6173492942522558E-2</c:v>
                </c:pt>
                <c:pt idx="45">
                  <c:v>1.5939744955275753E-2</c:v>
                </c:pt>
                <c:pt idx="46">
                  <c:v>1.5813218944270385E-2</c:v>
                </c:pt>
                <c:pt idx="47">
                  <c:v>1.5756690146678663E-2</c:v>
                </c:pt>
                <c:pt idx="48">
                  <c:v>1.5431106218941292E-2</c:v>
                </c:pt>
                <c:pt idx="49">
                  <c:v>1.4112341750921688E-2</c:v>
                </c:pt>
                <c:pt idx="50">
                  <c:v>1.3911442515595292E-2</c:v>
                </c:pt>
                <c:pt idx="51">
                  <c:v>1.3553376416217382E-2</c:v>
                </c:pt>
                <c:pt idx="52">
                  <c:v>1.3451941071635389E-2</c:v>
                </c:pt>
                <c:pt idx="53">
                  <c:v>1.3188837741587797E-2</c:v>
                </c:pt>
                <c:pt idx="54">
                  <c:v>1.2673101110425458E-2</c:v>
                </c:pt>
                <c:pt idx="55">
                  <c:v>1.263104555071913E-2</c:v>
                </c:pt>
                <c:pt idx="56">
                  <c:v>1.259383598532433E-2</c:v>
                </c:pt>
                <c:pt idx="57">
                  <c:v>1.2010642744679124E-2</c:v>
                </c:pt>
                <c:pt idx="58">
                  <c:v>1.0708917678654626E-2</c:v>
                </c:pt>
                <c:pt idx="59">
                  <c:v>1.0187437671160187E-2</c:v>
                </c:pt>
                <c:pt idx="60">
                  <c:v>9.0635898301435012E-3</c:v>
                </c:pt>
                <c:pt idx="61">
                  <c:v>9.0457053974221449E-3</c:v>
                </c:pt>
                <c:pt idx="62">
                  <c:v>9.0335066804750792E-3</c:v>
                </c:pt>
                <c:pt idx="63">
                  <c:v>8.9404754474962725E-3</c:v>
                </c:pt>
                <c:pt idx="64">
                  <c:v>8.7281922443682748E-3</c:v>
                </c:pt>
                <c:pt idx="65">
                  <c:v>6.6558616136805611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dgewell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Wilkinson Sword Classic Double Edge 1 Handle + 5 Cartridges @14.97</c:v>
                </c:pt>
              </c:strCache>
            </c:strRef>
          </c:cat>
          <c:val>
            <c:numRef>
              <c:f>Sheet1!$B$2:$B$2</c:f>
              <c:numCache>
                <c:formatCode>General</c:formatCode>
                <c:ptCount val="1"/>
                <c:pt idx="0">
                  <c:v>100.3191053704761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dgewell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Wilkinson Sword Classic Double Edge 1 Handle + 5 Cartridges @14.97</c:v>
                </c:pt>
              </c:strCache>
            </c:strRef>
          </c:cat>
          <c:val>
            <c:numRef>
              <c:f>Sheet1!$C$2:$C$2</c:f>
              <c:numCache>
                <c:formatCode>General</c:formatCode>
                <c:ptCount val="1"/>
                <c:pt idx="0">
                  <c:v>101.6711245874581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dgewell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Wilkinson Sword Classic Double Edge 1 Handle + 5 Cartridges @14.97</c:v>
                </c:pt>
              </c:strCache>
            </c:strRef>
          </c:cat>
          <c:val>
            <c:numRef>
              <c:f>Sheet1!$D$2:$D$2</c:f>
              <c:numCache>
                <c:formatCode>General</c:formatCode>
                <c:ptCount val="1"/>
                <c:pt idx="0">
                  <c:v>102.9371142510075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Wilkinson Sword Classic Double Edge 1 Handle + 5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rry's Men Five Blade Refills 4 Pack</c:v>
                </c:pt>
                <c:pt idx="1">
                  <c:v>Gillette Mach 3 Blade Refills 4 Pack</c:v>
                </c:pt>
                <c:pt idx="2">
                  <c:v>Schick Hydro 5 Blade Sensitive 1 Handle + 3 Cartridges</c:v>
                </c:pt>
                <c:pt idx="3">
                  <c:v>Gillette Mach 3 1 Handle + 2 Cartridges</c:v>
                </c:pt>
                <c:pt idx="4">
                  <c:v>Harry's Men Five Blade Refills 8 Pack</c:v>
                </c:pt>
                <c:pt idx="5">
                  <c:v>Gillette Fusion 5 Blade Refills 4 Pack</c:v>
                </c:pt>
                <c:pt idx="6">
                  <c:v>Dollar Shave Club 6 Blades Blade Refills 4 Pack</c:v>
                </c:pt>
                <c:pt idx="7">
                  <c:v>Schick Hydro 5 Blade Sensitive Refills 6 Pack</c:v>
                </c:pt>
                <c:pt idx="8">
                  <c:v>None Razors</c:v>
                </c:pt>
                <c:pt idx="9">
                  <c:v>Harry's 5 Blade 1 Handle + 2 Cartridges</c:v>
                </c:pt>
                <c:pt idx="10">
                  <c:v>Equate Easy Fit 5 Blade Refills 4 Pack</c:v>
                </c:pt>
              </c:strCache>
            </c:strRef>
          </c:cat>
          <c:val>
            <c:numRef>
              <c:f>Sheet1!$B$2:$B$12</c:f>
              <c:numCache>
                <c:formatCode>General</c:formatCode>
                <c:ptCount val="11"/>
                <c:pt idx="0">
                  <c:v>0.26037917659928261</c:v>
                </c:pt>
                <c:pt idx="1">
                  <c:v>0.10775255810095796</c:v>
                </c:pt>
                <c:pt idx="2">
                  <c:v>8.864400296705445E-2</c:v>
                </c:pt>
                <c:pt idx="3">
                  <c:v>8.3286101693238773E-2</c:v>
                </c:pt>
                <c:pt idx="4">
                  <c:v>7.7020878580118135E-2</c:v>
                </c:pt>
                <c:pt idx="5">
                  <c:v>7.6753417243802011E-2</c:v>
                </c:pt>
                <c:pt idx="6">
                  <c:v>7.4826731069739319E-2</c:v>
                </c:pt>
                <c:pt idx="7">
                  <c:v>7.4657431187904785E-2</c:v>
                </c:pt>
                <c:pt idx="8">
                  <c:v>7.3769325713857636E-2</c:v>
                </c:pt>
                <c:pt idx="9">
                  <c:v>7.0282651616354164E-2</c:v>
                </c:pt>
                <c:pt idx="10">
                  <c:v>6.58156610330278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Blade Sensitive Refills 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0.26074224273967034</c:v>
                </c:pt>
                <c:pt idx="1">
                  <c:v>0.15423488283990114</c:v>
                </c:pt>
                <c:pt idx="2">
                  <c:v>8.1748024384952961E-2</c:v>
                </c:pt>
                <c:pt idx="3">
                  <c:v>7.2503616058783749E-2</c:v>
                </c:pt>
                <c:pt idx="4">
                  <c:v>6.9154410785661174E-2</c:v>
                </c:pt>
                <c:pt idx="5">
                  <c:v>4.9277012514015318E-2</c:v>
                </c:pt>
                <c:pt idx="6">
                  <c:v>3.6778868952558927E-2</c:v>
                </c:pt>
                <c:pt idx="7">
                  <c:v>4.2142987860289784E-2</c:v>
                </c:pt>
                <c:pt idx="8">
                  <c:v>3.5142084177662687E-2</c:v>
                </c:pt>
                <c:pt idx="9">
                  <c:v>3.0586235050887485E-2</c:v>
                </c:pt>
                <c:pt idx="10">
                  <c:v>3.0097028575248836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Four Blade Refill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3.4125342895893467E-2</c:v>
                </c:pt>
                <c:pt idx="1">
                  <c:v>0.21755355112083316</c:v>
                </c:pt>
                <c:pt idx="2">
                  <c:v>0.11529237130512432</c:v>
                </c:pt>
                <c:pt idx="3">
                  <c:v>0.10227091728632313</c:v>
                </c:pt>
                <c:pt idx="4">
                  <c:v>9.7541629341748537E-2</c:v>
                </c:pt>
                <c:pt idx="5">
                  <c:v>6.9507033472317792E-2</c:v>
                </c:pt>
                <c:pt idx="6">
                  <c:v>5.1868345696083562E-2</c:v>
                </c:pt>
                <c:pt idx="7">
                  <c:v>3.3418687275573724E-3</c:v>
                </c:pt>
                <c:pt idx="8">
                  <c:v>4.9556463160195269E-2</c:v>
                </c:pt>
                <c:pt idx="9">
                  <c:v>4.3144014842614133E-2</c:v>
                </c:pt>
                <c:pt idx="10">
                  <c:v>4.2453169577676933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Four Blad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3.4125342895891246E-2</c:v>
                </c:pt>
                <c:pt idx="1">
                  <c:v>0.21755355112081473</c:v>
                </c:pt>
                <c:pt idx="2">
                  <c:v>0.11529237130512483</c:v>
                </c:pt>
                <c:pt idx="3">
                  <c:v>0.10227091728631645</c:v>
                </c:pt>
                <c:pt idx="4">
                  <c:v>9.7541629341745539E-2</c:v>
                </c:pt>
                <c:pt idx="5">
                  <c:v>6.950703347230483E-2</c:v>
                </c:pt>
                <c:pt idx="6">
                  <c:v>5.1868345696087267E-2</c:v>
                </c:pt>
                <c:pt idx="7">
                  <c:v>3.3418687275568238E-3</c:v>
                </c:pt>
                <c:pt idx="8">
                  <c:v>4.9556463160196185E-2</c:v>
                </c:pt>
                <c:pt idx="9">
                  <c:v>4.3144014842608595E-2</c:v>
                </c:pt>
                <c:pt idx="10">
                  <c:v>4.2453169577671139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19950-46A2-C82F-A388-5A10E83BCB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08DC65-8C89-69AC-BA2A-B566F072C0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1171CF-4E07-CC26-83DE-1DEE85E8BCE3}"/>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F362A9D4-01E4-6192-24C8-F3F4350664D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1938976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F1AFA-C798-3D73-CCA6-CCD3AC71F9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BB0FF7-8D4A-3FE3-949D-7DCEC36BE8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9B7652-DA51-6187-F61A-44E21A2F7583}"/>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B0820603-3775-0657-8E9C-1CCE4A59265A}"/>
              </a:ext>
            </a:extLst>
          </p:cNvPr>
          <p:cNvSpPr>
            <a:spLocks noGrp="1"/>
          </p:cNvSpPr>
          <p:nvPr>
            <p:ph type="sldNum" sz="quarter" idx="5"/>
          </p:nvPr>
        </p:nvSpPr>
        <p:spPr/>
        <p:txBody>
          <a:bodyPr/>
          <a:lstStyle/>
          <a:p>
            <a:fld id="{4CEE16E6-1DE9-413F-AA9F-05985E570417}" type="slidenum">
              <a:rPr lang="en-US" smtClean="0"/>
              <a:t>33</a:t>
            </a:fld>
            <a:endParaRPr lang="en-US"/>
          </a:p>
        </p:txBody>
      </p:sp>
    </p:spTree>
    <p:extLst>
      <p:ext uri="{BB962C8B-B14F-4D97-AF65-F5344CB8AC3E}">
        <p14:creationId xmlns:p14="http://schemas.microsoft.com/office/powerpoint/2010/main" val="2254904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FA3EC-AF4D-0193-2A4C-18272A7C38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DBADDF-C436-AAF4-422D-A9AC5E418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F0A173-3521-6746-11F7-647871BBEA01}"/>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938941AA-2074-C12D-BBBF-B98B074E87DD}"/>
              </a:ext>
            </a:extLst>
          </p:cNvPr>
          <p:cNvSpPr>
            <a:spLocks noGrp="1"/>
          </p:cNvSpPr>
          <p:nvPr>
            <p:ph type="sldNum" sz="quarter" idx="5"/>
          </p:nvPr>
        </p:nvSpPr>
        <p:spPr/>
        <p:txBody>
          <a:bodyPr/>
          <a:lstStyle/>
          <a:p>
            <a:fld id="{4CEE16E6-1DE9-413F-AA9F-05985E570417}" type="slidenum">
              <a:rPr lang="en-US" smtClean="0"/>
              <a:t>37</a:t>
            </a:fld>
            <a:endParaRPr lang="en-US"/>
          </a:p>
        </p:txBody>
      </p:sp>
    </p:spTree>
    <p:extLst>
      <p:ext uri="{BB962C8B-B14F-4D97-AF65-F5344CB8AC3E}">
        <p14:creationId xmlns:p14="http://schemas.microsoft.com/office/powerpoint/2010/main" val="1212664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31D20-7771-B997-93CB-BC3ED4826B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89FFD1-5583-0F6B-0EAE-F9F0E111D1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CF32FF-F58B-1A97-D40E-8225431197C0}"/>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E88C47DE-0A5A-C501-6BE7-EC6376EC32D6}"/>
              </a:ext>
            </a:extLst>
          </p:cNvPr>
          <p:cNvSpPr>
            <a:spLocks noGrp="1"/>
          </p:cNvSpPr>
          <p:nvPr>
            <p:ph type="sldNum" sz="quarter" idx="5"/>
          </p:nvPr>
        </p:nvSpPr>
        <p:spPr/>
        <p:txBody>
          <a:bodyPr/>
          <a:lstStyle/>
          <a:p>
            <a:fld id="{37E13843-85DD-499F-B752-681F6384D798}" type="slidenum">
              <a:rPr lang="en-CH" smtClean="0"/>
              <a:t>38</a:t>
            </a:fld>
            <a:endParaRPr lang="en-CH"/>
          </a:p>
        </p:txBody>
      </p:sp>
    </p:spTree>
    <p:extLst>
      <p:ext uri="{BB962C8B-B14F-4D97-AF65-F5344CB8AC3E}">
        <p14:creationId xmlns:p14="http://schemas.microsoft.com/office/powerpoint/2010/main" val="3015404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77C55-034F-A2A0-6AF5-7061D5DA2C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333D7C-3E3F-C6F0-5101-CF555EEACD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0F1240-8530-EC1F-6A73-B5927BA2F16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F2856055-8815-60E9-1498-20E35BADF6D9}"/>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690344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56CBF-8E25-3913-2609-87D311F4E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E335F1-8369-6C88-3FD7-752F70642A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06113D-AFDB-D93E-A363-D8EA8F4325F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7DB88E12-47A9-EDC2-C21D-8CADB477305A}"/>
              </a:ext>
            </a:extLst>
          </p:cNvPr>
          <p:cNvSpPr>
            <a:spLocks noGrp="1"/>
          </p:cNvSpPr>
          <p:nvPr>
            <p:ph type="sldNum" sz="quarter" idx="5"/>
          </p:nvPr>
        </p:nvSpPr>
        <p:spPr/>
        <p:txBody>
          <a:bodyPr/>
          <a:lstStyle/>
          <a:p>
            <a:fld id="{4CEE16E6-1DE9-413F-AA9F-05985E570417}" type="slidenum">
              <a:rPr lang="en-US" smtClean="0"/>
              <a:t>9</a:t>
            </a:fld>
            <a:endParaRPr lang="en-US"/>
          </a:p>
        </p:txBody>
      </p:sp>
    </p:spTree>
    <p:extLst>
      <p:ext uri="{BB962C8B-B14F-4D97-AF65-F5344CB8AC3E}">
        <p14:creationId xmlns:p14="http://schemas.microsoft.com/office/powerpoint/2010/main" val="238680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1EE67-A962-FB9A-66CF-5F1D3579E5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CE5D94-D4FE-66AB-F01F-00313D9264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E64E57-6354-1D51-A18A-C5B3227C3B48}"/>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3525EF0B-ECF1-686F-7585-5435B9ADF24C}"/>
              </a:ext>
            </a:extLst>
          </p:cNvPr>
          <p:cNvSpPr>
            <a:spLocks noGrp="1"/>
          </p:cNvSpPr>
          <p:nvPr>
            <p:ph type="sldNum" sz="quarter" idx="5"/>
          </p:nvPr>
        </p:nvSpPr>
        <p:spPr/>
        <p:txBody>
          <a:bodyPr/>
          <a:lstStyle/>
          <a:p>
            <a:fld id="{4CEE16E6-1DE9-413F-AA9F-05985E570417}" type="slidenum">
              <a:rPr lang="en-US" smtClean="0"/>
              <a:t>13</a:t>
            </a:fld>
            <a:endParaRPr lang="en-US"/>
          </a:p>
        </p:txBody>
      </p:sp>
    </p:spTree>
    <p:extLst>
      <p:ext uri="{BB962C8B-B14F-4D97-AF65-F5344CB8AC3E}">
        <p14:creationId xmlns:p14="http://schemas.microsoft.com/office/powerpoint/2010/main" val="1678361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EE274-F594-2971-DEB7-7F0F7A8A0A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7FE58C-2FF5-8200-953A-DDFBFE9C19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55B3FF-0595-3CF6-FA23-7EC479407784}"/>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383DAF79-7A00-C2C0-6E15-E813A8AF98D9}"/>
              </a:ext>
            </a:extLst>
          </p:cNvPr>
          <p:cNvSpPr>
            <a:spLocks noGrp="1"/>
          </p:cNvSpPr>
          <p:nvPr>
            <p:ph type="sldNum" sz="quarter" idx="5"/>
          </p:nvPr>
        </p:nvSpPr>
        <p:spPr/>
        <p:txBody>
          <a:bodyPr/>
          <a:lstStyle/>
          <a:p>
            <a:fld id="{4CEE16E6-1DE9-413F-AA9F-05985E570417}" type="slidenum">
              <a:rPr lang="en-US" smtClean="0"/>
              <a:t>17</a:t>
            </a:fld>
            <a:endParaRPr lang="en-US"/>
          </a:p>
        </p:txBody>
      </p:sp>
    </p:spTree>
    <p:extLst>
      <p:ext uri="{BB962C8B-B14F-4D97-AF65-F5344CB8AC3E}">
        <p14:creationId xmlns:p14="http://schemas.microsoft.com/office/powerpoint/2010/main" val="325232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AA5A6-2E0A-1EF1-FBD5-F460DE6BC4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54780-FCA0-FE9B-E0B9-B0A67A4721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DD6FA8-34CB-E424-3BDD-2D40974AA861}"/>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3B63E54A-D2C0-5E1D-C82D-B80D4BA0E6C4}"/>
              </a:ext>
            </a:extLst>
          </p:cNvPr>
          <p:cNvSpPr>
            <a:spLocks noGrp="1"/>
          </p:cNvSpPr>
          <p:nvPr>
            <p:ph type="sldNum" sz="quarter" idx="5"/>
          </p:nvPr>
        </p:nvSpPr>
        <p:spPr/>
        <p:txBody>
          <a:bodyPr/>
          <a:lstStyle/>
          <a:p>
            <a:fld id="{37E13843-85DD-499F-B752-681F6384D798}" type="slidenum">
              <a:rPr lang="en-CH" smtClean="0"/>
              <a:t>18</a:t>
            </a:fld>
            <a:endParaRPr lang="en-CH"/>
          </a:p>
        </p:txBody>
      </p:sp>
    </p:spTree>
    <p:extLst>
      <p:ext uri="{BB962C8B-B14F-4D97-AF65-F5344CB8AC3E}">
        <p14:creationId xmlns:p14="http://schemas.microsoft.com/office/powerpoint/2010/main" val="2506076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0115B-941D-554B-A2FC-961FD26457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3D124E-8A84-F06F-7CDA-58F1EDFB76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8A3034-61A1-2937-B04C-6663FC15883F}"/>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1383284-E143-5998-05AC-722DACE01440}"/>
              </a:ext>
            </a:extLst>
          </p:cNvPr>
          <p:cNvSpPr>
            <a:spLocks noGrp="1"/>
          </p:cNvSpPr>
          <p:nvPr>
            <p:ph type="sldNum" sz="quarter" idx="5"/>
          </p:nvPr>
        </p:nvSpPr>
        <p:spPr/>
        <p:txBody>
          <a:bodyPr/>
          <a:lstStyle/>
          <a:p>
            <a:fld id="{4CEE16E6-1DE9-413F-AA9F-05985E570417}" type="slidenum">
              <a:rPr lang="en-US" smtClean="0"/>
              <a:t>21</a:t>
            </a:fld>
            <a:endParaRPr lang="en-US"/>
          </a:p>
        </p:txBody>
      </p:sp>
    </p:spTree>
    <p:extLst>
      <p:ext uri="{BB962C8B-B14F-4D97-AF65-F5344CB8AC3E}">
        <p14:creationId xmlns:p14="http://schemas.microsoft.com/office/powerpoint/2010/main" val="4201801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9EE6C-8D5F-7758-6CED-F8A91D4172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296BE4-9E3D-DE2A-1DE0-E89C06B7B0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CB6D9F-4906-3DA1-BC89-3063EEC6273C}"/>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D25EC984-D934-F4B0-53BF-0781C38B9783}"/>
              </a:ext>
            </a:extLst>
          </p:cNvPr>
          <p:cNvSpPr>
            <a:spLocks noGrp="1"/>
          </p:cNvSpPr>
          <p:nvPr>
            <p:ph type="sldNum" sz="quarter" idx="5"/>
          </p:nvPr>
        </p:nvSpPr>
        <p:spPr/>
        <p:txBody>
          <a:bodyPr/>
          <a:lstStyle/>
          <a:p>
            <a:fld id="{4CEE16E6-1DE9-413F-AA9F-05985E570417}" type="slidenum">
              <a:rPr lang="en-US" smtClean="0"/>
              <a:t>25</a:t>
            </a:fld>
            <a:endParaRPr lang="en-US"/>
          </a:p>
        </p:txBody>
      </p:sp>
    </p:spTree>
    <p:extLst>
      <p:ext uri="{BB962C8B-B14F-4D97-AF65-F5344CB8AC3E}">
        <p14:creationId xmlns:p14="http://schemas.microsoft.com/office/powerpoint/2010/main" val="562697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E4007-7120-F7C1-0A59-1CD59BAB6A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25A72-F794-9F36-E628-A29C05FC8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94F5DE-FE16-FB0C-C5F7-749630EB6FA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88DD04BA-DCE0-40F3-96BB-45A731B1D747}"/>
              </a:ext>
            </a:extLst>
          </p:cNvPr>
          <p:cNvSpPr>
            <a:spLocks noGrp="1"/>
          </p:cNvSpPr>
          <p:nvPr>
            <p:ph type="sldNum" sz="quarter" idx="5"/>
          </p:nvPr>
        </p:nvSpPr>
        <p:spPr/>
        <p:txBody>
          <a:bodyPr/>
          <a:lstStyle/>
          <a:p>
            <a:fld id="{4CEE16E6-1DE9-413F-AA9F-05985E570417}" type="slidenum">
              <a:rPr lang="en-US" smtClean="0"/>
              <a:t>29</a:t>
            </a:fld>
            <a:endParaRPr lang="en-US"/>
          </a:p>
        </p:txBody>
      </p:sp>
    </p:spTree>
    <p:extLst>
      <p:ext uri="{BB962C8B-B14F-4D97-AF65-F5344CB8AC3E}">
        <p14:creationId xmlns:p14="http://schemas.microsoft.com/office/powerpoint/2010/main" val="39525312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 Id="rId9" Type="http://schemas.openxmlformats.org/officeDocument/2006/relationships/chart" Target="../charts/chart2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2.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oleObject" Target="../embeddings/oleObject28.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 Id="rId9" Type="http://schemas.openxmlformats.org/officeDocument/2006/relationships/chart" Target="../charts/chart2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30.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4.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oleObject" Target="../embeddings/oleObject28.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5.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45.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5.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8" Type="http://schemas.openxmlformats.org/officeDocument/2006/relationships/chart" Target="../charts/chart51.xml"/><Relationship Id="rId3" Type="http://schemas.openxmlformats.org/officeDocument/2006/relationships/oleObject" Target="../embeddings/oleObject28.bin"/><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52.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8" Type="http://schemas.openxmlformats.org/officeDocument/2006/relationships/chart" Target="../charts/chart56.xml"/><Relationship Id="rId3" Type="http://schemas.openxmlformats.org/officeDocument/2006/relationships/oleObject" Target="../embeddings/oleObject28.bin"/><Relationship Id="rId7"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oleObject" Target="../embeddings/oleObject28.bin"/><Relationship Id="rId7" Type="http://schemas.openxmlformats.org/officeDocument/2006/relationships/chart" Target="../charts/chart59.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61.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oleObject" Target="../embeddings/oleObject28.bin"/><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67.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28.bin"/><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68.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13.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0D182-E93F-0423-FE80-93DD52C8C842}"/>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76287A-69C7-6292-E87E-03AAE65746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87C7D521-4D33-D03B-0EF1-72270D5EE7B0}"/>
              </a:ext>
            </a:extLst>
          </p:cNvPr>
          <p:cNvSpPr>
            <a:spLocks noGrp="1"/>
          </p:cNvSpPr>
          <p:nvPr>
            <p:ph type="body" sz="quarter" idx="18"/>
          </p:nvPr>
        </p:nvSpPr>
        <p:spPr/>
        <p:txBody>
          <a:bodyPr/>
          <a:lstStyle/>
          <a:p>
            <a:r>
              <a:t>Summary | Innovations | Blades Inno (1)</a:t>
            </a:r>
          </a:p>
        </p:txBody>
      </p:sp>
      <p:sp>
        <p:nvSpPr>
          <p:cNvPr id="2" name="Title 1">
            <a:extLst>
              <a:ext uri="{FF2B5EF4-FFF2-40B4-BE49-F238E27FC236}">
                <a16:creationId xmlns:a16="http://schemas.microsoft.com/office/drawing/2014/main" id="{C579560C-D872-83DB-BA63-5DA2F33473C5}"/>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4DCC4410-F312-2EA9-D1F4-D70E062A4A67}"/>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27CFE323-4E2C-F123-02FD-E89CA47A7299}"/>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F6C56C9B-872F-BDB1-ED81-6A76D79003B0}"/>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Blade Pro Sensitiv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7.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6.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Blade Sensitive Refills 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7.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2.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86.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Quattro Four Blade Refill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1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Four Blad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1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594DA0A1-46BA-7A61-D86F-552E85CEF4AD}"/>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883765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889C0-1C52-2108-B77D-2E220EC9660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CFC6D95-375C-1673-5C2B-43B0F7B4FE6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3551348E-11ED-D4C2-9179-2DE6310CB1E4}"/>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D2236D2-6FCB-4D8C-3AB7-CF58F6D93CD0}"/>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FF6EC77-171A-BA16-496F-233AB1BCE954}"/>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84C8DEB5-4DC5-EC8B-EE42-AC27604315E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973DFAD7-9073-1C5B-1503-E212E4AD8A7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38135365-95A9-49E6-FD53-DEDB7F3BE7FC}"/>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Dispo Inno (1)</a:t>
            </a:r>
          </a:p>
        </p:txBody>
      </p:sp>
      <p:sp>
        <p:nvSpPr>
          <p:cNvPr id="8" name="Title 7">
            <a:extLst>
              <a:ext uri="{FF2B5EF4-FFF2-40B4-BE49-F238E27FC236}">
                <a16:creationId xmlns:a16="http://schemas.microsoft.com/office/drawing/2014/main" id="{3FDBCC0A-C191-30E6-FA9B-D8228645754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192B152-1780-0A7E-6C30-164E6A5D7C45}"/>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5638BD47-97AA-A008-E83C-93B9C2E725C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8D16E189-D13A-12B6-3B3D-AC0CE3F0C0A4}"/>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E1316FD3-FBCA-E2BB-A3F5-1EA2377474C3}"/>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63919315-E036-8B73-F217-5FDFCEE2879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45E9FA72-9866-313E-C829-5649F90E4429}"/>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1E989D87-817D-A3D3-C1C8-27C53DED34B3}"/>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085168E7-C724-320B-BBED-519C296E3238}"/>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5632132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508B6-F670-BD74-EA38-D43567ACA21B}"/>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3E079EE-47F6-B9D0-C2D6-943FFD2856E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F0E50F53-0A88-D94F-3134-2925B7650359}"/>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3641AC82-249F-DA21-2A5A-AF0AFC6E6271}"/>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1AA5F43A-E980-D1F9-C224-9B7FD5B995C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C290F066-71D4-CF0B-4776-D194F050EAE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35642D7F-7E18-3BC8-64D5-136E3012D378}"/>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Dispo Inno (1)</a:t>
            </a:r>
          </a:p>
        </p:txBody>
      </p:sp>
      <p:sp>
        <p:nvSpPr>
          <p:cNvPr id="3" name="Title 2">
            <a:extLst>
              <a:ext uri="{FF2B5EF4-FFF2-40B4-BE49-F238E27FC236}">
                <a16:creationId xmlns:a16="http://schemas.microsoft.com/office/drawing/2014/main" id="{3FF67211-940A-52D0-BB2A-9FEB093E4AD3}"/>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0336087F-ED6F-6C89-393E-2D66EE7447E7}"/>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45219D79-A702-05C5-E5F7-7F2C4B12295A}"/>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5A141447-190D-7DBB-F447-BD3B2309AFB3}"/>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402936">
                  <a:extLst>
                    <a:ext uri="{9D8B030D-6E8A-4147-A177-3AD203B41FA5}">
                      <a16:colId xmlns:a16="http://schemas.microsoft.com/office/drawing/2014/main" val="4292788590"/>
                    </a:ext>
                  </a:extLst>
                </a:gridCol>
                <a:gridCol w="1402936">
                  <a:extLst>
                    <a:ext uri="{9D8B030D-6E8A-4147-A177-3AD203B41FA5}">
                      <a16:colId xmlns:a16="http://schemas.microsoft.com/office/drawing/2014/main" val="401539003"/>
                    </a:ext>
                  </a:extLst>
                </a:gridCol>
                <a:gridCol w="1402936">
                  <a:extLst>
                    <a:ext uri="{9D8B030D-6E8A-4147-A177-3AD203B41FA5}">
                      <a16:colId xmlns:a16="http://schemas.microsoft.com/office/drawing/2014/main" val="138763722"/>
                    </a:ext>
                  </a:extLst>
                </a:gridCol>
                <a:gridCol w="1402936">
                  <a:extLst>
                    <a:ext uri="{9D8B030D-6E8A-4147-A177-3AD203B41FA5}">
                      <a16:colId xmlns:a16="http://schemas.microsoft.com/office/drawing/2014/main" val="2633844746"/>
                    </a:ext>
                  </a:extLst>
                </a:gridCol>
                <a:gridCol w="1402936">
                  <a:extLst>
                    <a:ext uri="{9D8B030D-6E8A-4147-A177-3AD203B41FA5}">
                      <a16:colId xmlns:a16="http://schemas.microsoft.com/office/drawing/2014/main" val="259526935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4458907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AA33C-C07C-830C-9BF1-2F2F028E9FE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7F52764-789C-C76F-36B6-63DCAF5E983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DD7CBB9-F46D-D727-3625-72C48092A70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3486348B-733C-1B14-4D8E-4D6C9C00BBC7}"/>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EF59E53A-3589-E0B4-9F91-E7AD326A02B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88E04DD7-04D8-D13A-FBA9-22ADA308EC8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8078B909-4ED1-6938-99CD-0DBA002E2914}"/>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Dispo Inno (1)</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C7378A4-71B5-A179-A3F7-E292BF85673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3A3185C0-4D1A-1789-8E47-FD25733925BC}"/>
              </a:ext>
            </a:extLst>
          </p:cNvPr>
          <p:cNvGraphicFramePr>
            <a:graphicFrameLocks noGrp="1"/>
          </p:cNvGraphicFramePr>
          <p:nvPr>
            <p:ph idx="4294967295"/>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2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Sensitive Disposable Razors 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Sensitive Disposable Razors 8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Body &amp; Groin Disposable Razor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Ultimate Comfort Disposable Razor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algn="l">
                        <a:defRPr>
                          <a:latin typeface="Nexa Book"/>
                        </a:defRPr>
                      </a:pPr>
                      <a:r>
                        <a:rPr sz="700" b="0"/>
                        <a:t>Schick Xtreme 3 Sensitive Disposable Razor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algn="l">
                        <a:defRPr>
                          <a:latin typeface="Nexa Book"/>
                        </a:defRPr>
                      </a:pPr>
                      <a:r>
                        <a:rPr sz="700" b="0"/>
                        <a:t>Schick Xtreme 2 Sensitive Disposable Razors 12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algn="l">
                        <a:defRPr>
                          <a:latin typeface="Nexa Book"/>
                        </a:defRPr>
                      </a:pPr>
                      <a:r>
                        <a:rPr sz="700" b="0"/>
                        <a:t>Schick Xtreme 3 Sensitive Disposable Razor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algn="l">
                        <a:defRPr>
                          <a:latin typeface="Nexa Book"/>
                        </a:defRPr>
                      </a:pPr>
                      <a:r>
                        <a:rPr sz="700" b="0"/>
                        <a:t>Schick Xtreme 3 Sensitiv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7.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algn="l">
                        <a:defRPr>
                          <a:latin typeface="Nexa Book"/>
                        </a:defRPr>
                      </a:pPr>
                      <a:r>
                        <a:rPr sz="700" b="0"/>
                        <a:t>Schick Hydro 5 Blade Sensitive 1 Handle + 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algn="l">
                        <a:defRPr>
                          <a:latin typeface="Nexa Book"/>
                        </a:defRPr>
                      </a:pPr>
                      <a:r>
                        <a:rPr sz="700" b="0"/>
                        <a:t>Gillette Sensor 2 Pivot Head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algn="l">
                        <a:defRPr>
                          <a:latin typeface="Nexa Book"/>
                        </a:defRPr>
                      </a:pPr>
                      <a:r>
                        <a:rPr sz="700" b="0"/>
                        <a:t>Gillette Sensor 3 Sensitiv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algn="l">
                        <a:defRPr>
                          <a:latin typeface="Nexa Book"/>
                        </a:defRPr>
                      </a:pPr>
                      <a:r>
                        <a:rPr sz="700" b="0"/>
                        <a:t>Equate 2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algn="l">
                        <a:defRPr>
                          <a:latin typeface="Nexa Book"/>
                        </a:defRPr>
                      </a:pPr>
                      <a:r>
                        <a:rPr sz="700" b="0"/>
                        <a:t>Schick Hydro 5 Blade Sensitive Refills 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algn="l">
                        <a:defRPr>
                          <a:latin typeface="Nexa Book"/>
                        </a:defRPr>
                      </a:pPr>
                      <a:r>
                        <a:rPr sz="700" b="0"/>
                        <a:t>Bic Men Sensitive Single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E2C9B0E4-D643-BD9F-2BEE-F583E97B1A6B}"/>
              </a:ext>
            </a:extLst>
          </p:cNvPr>
          <p:cNvGraphicFramePr>
            <a:graphicFrameLocks/>
          </p:cNvGraphicFramePr>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73DD8E3F-B6E0-D5DD-5229-F3749EC2BBE9}"/>
              </a:ext>
            </a:extLst>
          </p:cNvPr>
          <p:cNvGraphicFramePr>
            <a:graphicFrameLocks/>
          </p:cNvGraphicFramePr>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865878B6-2BD4-616C-5E3F-6E23156D6D3F}"/>
              </a:ext>
            </a:extLst>
          </p:cNvPr>
          <p:cNvGraphicFramePr>
            <a:graphicFrameLocks/>
          </p:cNvGraphicFramePr>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EF80C17B-83E9-6926-B1C7-EC489840D1CD}"/>
              </a:ext>
            </a:extLst>
          </p:cNvPr>
          <p:cNvGraphicFramePr>
            <a:graphicFrameLocks/>
          </p:cNvGraphicFramePr>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697874E4-F597-FDBC-4CDD-205B790BA279}"/>
              </a:ext>
            </a:extLst>
          </p:cNvPr>
          <p:cNvGraphicFramePr>
            <a:graphicFrameLocks/>
          </p:cNvGraphicFramePr>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86120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EBF876-68C2-0163-3087-0EE8339BD12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09F0A34-10BC-2F85-AB80-A30ADD0880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7D3C0C4C-9786-B04C-CB9E-9341831E2B04}"/>
              </a:ext>
            </a:extLst>
          </p:cNvPr>
          <p:cNvSpPr>
            <a:spLocks noGrp="1"/>
          </p:cNvSpPr>
          <p:nvPr>
            <p:ph type="body" sz="quarter" idx="18"/>
          </p:nvPr>
        </p:nvSpPr>
        <p:spPr/>
        <p:txBody>
          <a:bodyPr/>
          <a:lstStyle/>
          <a:p>
            <a:r>
              <a:t>Summary | Innovations | Dispo Inno (2)</a:t>
            </a:r>
          </a:p>
        </p:txBody>
      </p:sp>
      <p:sp>
        <p:nvSpPr>
          <p:cNvPr id="2" name="Title 1">
            <a:extLst>
              <a:ext uri="{FF2B5EF4-FFF2-40B4-BE49-F238E27FC236}">
                <a16:creationId xmlns:a16="http://schemas.microsoft.com/office/drawing/2014/main" id="{70632D04-0196-2348-6916-6C7EC709A117}"/>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E4AAF93F-E079-22D9-7FE2-B455CA27FBE2}"/>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BAB0CEF8-0611-9434-9F9E-C1BD22474EB1}"/>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3</a:t>
            </a:fld>
            <a:endParaRPr lang="en-US"/>
          </a:p>
        </p:txBody>
      </p:sp>
      <p:graphicFrame>
        <p:nvGraphicFramePr>
          <p:cNvPr id="7" name="Table 6">
            <a:extLst>
              <a:ext uri="{FF2B5EF4-FFF2-40B4-BE49-F238E27FC236}">
                <a16:creationId xmlns:a16="http://schemas.microsoft.com/office/drawing/2014/main" id="{12599359-411E-6F63-95C6-6A31C2FBC942}"/>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Schick Xtreme 5 Sensitive Disposable Razors 2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Schick First 4 Blade Disposable Razor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9.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7.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A237393F-922D-AE89-5EEF-B41CF9BB4DCC}"/>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976223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DEEDC-71F4-4CA9-E688-00FA98B3FFB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CEA3D30-C98B-AF64-8AA5-45463DFFB47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6BB758FF-5E88-2FA1-5566-FE2BE40965C5}"/>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D294726B-6F30-D293-B59E-8C932EF6069F}"/>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4D5D5EE6-2329-815D-FEFE-0BAD60ECCEA9}"/>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CE90563C-B949-C31F-8324-6174B4E3F6D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392A3296-19DD-F49A-EEB2-22061D333CF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46A3AAE5-AB46-05E6-293B-A3099166D63A}"/>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Dispo Inno (2)</a:t>
            </a:r>
          </a:p>
        </p:txBody>
      </p:sp>
      <p:sp>
        <p:nvSpPr>
          <p:cNvPr id="8" name="Title 7">
            <a:extLst>
              <a:ext uri="{FF2B5EF4-FFF2-40B4-BE49-F238E27FC236}">
                <a16:creationId xmlns:a16="http://schemas.microsoft.com/office/drawing/2014/main" id="{79637907-8D8E-E8E2-9AAD-B83D5B0AB9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8FAAD07-CA25-229F-946B-9E8CA82A2927}"/>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BE38C03B-BBF3-6FD1-D9FB-2EEE2F7ECAFD}"/>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97B1F5F5-9B8D-2AC2-A6C0-324C4598C33D}"/>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7A05B403-5663-7877-165D-E076125AB15A}"/>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37C5CED2-DE7E-3C4C-B26C-C0531C44CB0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912546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AEA97-636B-E9FB-A59F-A964BDCDF919}"/>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BE23039-204D-6A05-79A5-FD582F01440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2AE8061-726C-BDE3-25C2-59F3400907CE}"/>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496CBC82-17B7-9234-121E-01CBB8126DE3}"/>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5458F9B7-712F-45CE-B14B-FB7A1F6198E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7F4FDF2F-422A-8D2A-63AC-1EBE508021F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7CBFF6D6-48BF-C555-EC89-A2846D5CDD7D}"/>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Dispo Inno (2)</a:t>
            </a:r>
          </a:p>
        </p:txBody>
      </p:sp>
      <p:sp>
        <p:nvSpPr>
          <p:cNvPr id="3" name="Title 2">
            <a:extLst>
              <a:ext uri="{FF2B5EF4-FFF2-40B4-BE49-F238E27FC236}">
                <a16:creationId xmlns:a16="http://schemas.microsoft.com/office/drawing/2014/main" id="{363F11B0-6DA2-1BA7-3D15-9AFB35416DDB}"/>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102915B9-B280-96D8-BB32-81569404C046}"/>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C72E146-0E15-665E-94F1-679B07135DA4}"/>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80B415C3-CD9A-9210-306F-353CB11F4A3B}"/>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36879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62203-8E3A-33AF-1FB7-F2D30E75389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33B5C94-8AEC-046D-A08B-164C9D372F8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139CB515-3541-E77E-ED00-98E28B7EC819}"/>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55BECE15-CB6D-F552-3975-9539BB64C381}"/>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B355061-5E6B-E574-4531-FBED183B029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707E2524-EE86-AA03-14F2-36DE15BC677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846A1E0F-A82C-70D3-F635-17E759FC5AFA}"/>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Dispo Inno (2)</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C564096-EC20-FB42-A7FF-07297C92006A}"/>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57DF62AB-1FD2-6C8D-94BB-C39B9E510038}"/>
              </a:ext>
            </a:extLst>
          </p:cNvPr>
          <p:cNvGraphicFramePr>
            <a:graphicFrameLocks noGrp="1"/>
          </p:cNvGraphicFramePr>
          <p:nvPr>
            <p:ph idx="4294967295"/>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Sensitive Disposable Razors 2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First 4 Blade Disposable Razor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Schick Xtreme 3 Sensitive Disposable Razor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Schick Xtreme 2 Sensitive Disposable Razors 12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Mach 3 Sensitive Skin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Equate Speed 3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Schick Xtreme 3 Sensitive Disposable Razor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Bic Men Sensitive Single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Equate Caliber 5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Gillette Sensor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Bic Flex 4 Sensitive Skin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Equate 2 Blade Disposable Razors 5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9307169A-AEC4-E64D-07A1-5493EDAF6A2A}"/>
              </a:ext>
            </a:extLst>
          </p:cNvPr>
          <p:cNvGraphicFramePr>
            <a:graphicFrameLocks/>
          </p:cNvGraphicFramePr>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4EAEC97-F94B-AE97-2A03-20B95D305DE5}"/>
              </a:ext>
            </a:extLst>
          </p:cNvPr>
          <p:cNvGraphicFramePr>
            <a:graphicFrameLocks/>
          </p:cNvGraphicFramePr>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66990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D4093-15A6-0A5C-6AFD-A6F1C49C63E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2A86514-CAAB-E417-A21C-2BD1FE0658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68F0268A-21D3-B574-7C45-DF19D7B2F090}"/>
              </a:ext>
            </a:extLst>
          </p:cNvPr>
          <p:cNvSpPr>
            <a:spLocks noGrp="1"/>
          </p:cNvSpPr>
          <p:nvPr>
            <p:ph type="body" sz="quarter" idx="18"/>
          </p:nvPr>
        </p:nvSpPr>
        <p:spPr/>
        <p:txBody>
          <a:bodyPr/>
          <a:lstStyle/>
          <a:p>
            <a:r>
              <a:t>Summary | Innovations | Equate Blades Inno</a:t>
            </a:r>
          </a:p>
        </p:txBody>
      </p:sp>
      <p:sp>
        <p:nvSpPr>
          <p:cNvPr id="2" name="Title 1">
            <a:extLst>
              <a:ext uri="{FF2B5EF4-FFF2-40B4-BE49-F238E27FC236}">
                <a16:creationId xmlns:a16="http://schemas.microsoft.com/office/drawing/2014/main" id="{7B3C4CB1-BAAF-45D3-17BF-4A01F3F28187}"/>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0EBDB565-CD86-D315-00BB-B5AA02EF175C}"/>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1976CD0B-5EEA-2447-2F9F-E0F08BFF8FA2}"/>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7</a:t>
            </a:fld>
            <a:endParaRPr lang="en-US"/>
          </a:p>
        </p:txBody>
      </p:sp>
      <p:graphicFrame>
        <p:nvGraphicFramePr>
          <p:cNvPr id="7" name="Table 6">
            <a:extLst>
              <a:ext uri="{FF2B5EF4-FFF2-40B4-BE49-F238E27FC236}">
                <a16:creationId xmlns:a16="http://schemas.microsoft.com/office/drawing/2014/main" id="{2A177CFD-9467-FB56-9335-6947746174B4}"/>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Equate 5 Blades Blade Refills 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E94AF931-447A-E6F8-252F-C5D57F1C8F63}"/>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6980340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45140-D04B-E7BC-6311-2B346530178F}"/>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AFE86E8-B83D-6DCF-4C1B-D4DA381C849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00EDC23-CCE6-C9AC-9E3F-0E46F6241CB0}"/>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B5823F45-1D1F-4F02-CF7D-4A9D9956A9E5}"/>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7B0DFC2C-5EDB-16E3-F621-5FA6DC8BB1E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0" name="Content Placeholder 9">
            <a:extLst>
              <a:ext uri="{FF2B5EF4-FFF2-40B4-BE49-F238E27FC236}">
                <a16:creationId xmlns:a16="http://schemas.microsoft.com/office/drawing/2014/main" id="{80F7015E-131B-B480-81BD-7F50E812A75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2AEE28CF-0CF3-5F4E-D23B-06915E929272}"/>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Equate Blades Inno</a:t>
            </a:r>
          </a:p>
        </p:txBody>
      </p:sp>
      <p:sp>
        <p:nvSpPr>
          <p:cNvPr id="8" name="Title 7">
            <a:extLst>
              <a:ext uri="{FF2B5EF4-FFF2-40B4-BE49-F238E27FC236}">
                <a16:creationId xmlns:a16="http://schemas.microsoft.com/office/drawing/2014/main" id="{20405D5B-E675-8228-1E88-CD616CFEC59A}"/>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57CF5BF0-2347-4633-5531-A3F6AD172731}"/>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29993FFA-4269-4631-17F7-FF8A5E6C53A1}"/>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9DD7E639-9517-63A2-A2C5-F414BFB2FE6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7AC2497C-B390-D245-4FA0-320FE479B212}"/>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6BE316A4-AF2A-8EAD-961A-43CF635E10D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1970606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E97E2-1467-9853-8F18-BD41049A9F5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1E4631F-7D1D-FFE4-5E53-BEC55D3F3A6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E69EF806-9DB2-1F62-7D3E-FC9C32CFF032}"/>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0F338931-3346-66EC-19BA-5A3A46FBAC38}"/>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30730522-CAC8-C5E1-DF02-7988822D48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BB0C7005-CF20-F090-2B48-5DB3B971EBE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34770BC1-A2DF-A702-2A6B-86F8B50071AB}"/>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Equate Blades Inno</a:t>
            </a:r>
          </a:p>
        </p:txBody>
      </p:sp>
      <p:sp>
        <p:nvSpPr>
          <p:cNvPr id="3" name="Title 2">
            <a:extLst>
              <a:ext uri="{FF2B5EF4-FFF2-40B4-BE49-F238E27FC236}">
                <a16:creationId xmlns:a16="http://schemas.microsoft.com/office/drawing/2014/main" id="{37117A07-FF30-AB89-F54E-A9F0ECDA231F}"/>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479A8C9F-7F3D-C06E-1B88-B0C882D1C31C}"/>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BF8784-73DF-1D49-58B4-CB97D07D0F8E}"/>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D6E79D4E-6A70-83D7-C6CD-A6DCDDD62029}"/>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671353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90685-CA4B-9687-4E08-ADEED711956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83897DD-778C-8C12-F3AF-393E2EF91D3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FA5C1D0F-1D8E-5D3E-C444-605E998B6217}"/>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B0DA21D0-6C62-9722-3A66-AB2268CA07E4}"/>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63B9AB2-0143-86F5-5F15-110CA9BE9730}"/>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AA23CAE2-2A88-AE89-D953-EEE0203681D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87C2C99F-FDD5-7AD3-4A51-2F0C0CDCF7B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B4291481-2B05-B1F0-04CB-206FA9C5CD2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lades Inno (1)</a:t>
            </a:r>
          </a:p>
        </p:txBody>
      </p:sp>
      <p:sp>
        <p:nvSpPr>
          <p:cNvPr id="8" name="Title 7">
            <a:extLst>
              <a:ext uri="{FF2B5EF4-FFF2-40B4-BE49-F238E27FC236}">
                <a16:creationId xmlns:a16="http://schemas.microsoft.com/office/drawing/2014/main" id="{4C41AED2-4FC0-9BF5-777B-5C66B8AEF18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6F407724-B9E4-57AA-52C2-7502587C96AF}"/>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606122B4-460E-35C9-5E80-48326D61457E}"/>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C4F07A23-6CE1-4FD0-9E30-9EB9768C59DA}"/>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0EBA3DA2-456A-AB54-0275-099E4374ACD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D25B6816-C6B4-1383-BD66-A8DC5ABDF66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86F80E45-2EA6-3A32-E626-7F1CEBEDF4A8}"/>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B045865B-11BF-1D46-72DA-A661DCAEF6C2}"/>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7101915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55EC2-E402-9A52-AB02-62DD401C2E3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C113BA9-6C54-6106-FE14-C3393B5B322E}"/>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170B79F-A07F-5446-4A82-2D678FE8EE09}"/>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81C95BF4-0913-2C76-44BF-93B936ADF1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DC9E7861-7578-9458-EFDF-740BC010C0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F1236074-E74A-37F8-B8FE-CF2C1E9A106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FA33B440-1BAF-BC18-2C95-B8288404FE4A}"/>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Equate Blades In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9AB28E49-078D-6ABC-3D77-4643EAA02EDC}"/>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9D8E9766-176C-55A7-3AB6-AD8E1728D3D8}"/>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5 Blades Blade Refills 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rry's Men Five Blade Refills 8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rry's Men Five Blade Refill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Gillette Fusion 5 Proglid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Van Der Hagen Men Double Edge Blade Refills 1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Gillette Mach 3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78411EFC-9F73-7B03-ECFF-1B1CFD34B4D2}"/>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64804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9E552-A365-2CAE-B6C1-B7C7B090C556}"/>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E0BABED-5CBE-518C-A8B1-BE06CCFB5A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062580D3-0991-B3C1-CFA4-FC62DA51A410}"/>
              </a:ext>
            </a:extLst>
          </p:cNvPr>
          <p:cNvSpPr>
            <a:spLocks noGrp="1"/>
          </p:cNvSpPr>
          <p:nvPr>
            <p:ph type="body" sz="quarter" idx="18"/>
          </p:nvPr>
        </p:nvSpPr>
        <p:spPr/>
        <p:txBody>
          <a:bodyPr/>
          <a:lstStyle/>
          <a:p>
            <a:r>
              <a:t>Summary | Innovations | Equate Dispo Inno</a:t>
            </a:r>
          </a:p>
        </p:txBody>
      </p:sp>
      <p:sp>
        <p:nvSpPr>
          <p:cNvPr id="2" name="Title 1">
            <a:extLst>
              <a:ext uri="{FF2B5EF4-FFF2-40B4-BE49-F238E27FC236}">
                <a16:creationId xmlns:a16="http://schemas.microsoft.com/office/drawing/2014/main" id="{BC613B8B-C0EB-3187-C123-5275845ED1F6}"/>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FC5832FD-331D-739A-6E2E-21E76D768996}"/>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47D03B32-D0D0-D191-660E-93C9A98F6442}"/>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1</a:t>
            </a:fld>
            <a:endParaRPr lang="en-US"/>
          </a:p>
        </p:txBody>
      </p:sp>
      <p:graphicFrame>
        <p:nvGraphicFramePr>
          <p:cNvPr id="7" name="Table 6">
            <a:extLst>
              <a:ext uri="{FF2B5EF4-FFF2-40B4-BE49-F238E27FC236}">
                <a16:creationId xmlns:a16="http://schemas.microsoft.com/office/drawing/2014/main" id="{1E87EC6F-CF21-4297-120B-BC90D5D443E0}"/>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Equate 2 Blade Disposable Razor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7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9.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9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7.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Equate Caliber 3 Disposable Razor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5.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Equate Caliber 5 Disposable Razor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7A27FCD1-07E2-2370-2483-9C897BBAEFC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258042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A264D-F461-68CD-05A6-2A4AAE1B8CEF}"/>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AFA358F-C94D-8D40-AC65-DFA95689550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8921F90-9B03-8F6A-BA78-FBE370FCCCC5}"/>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D1A7794F-544E-DF4F-A198-C0EB19082AEB}"/>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47E8230D-1EB2-17F2-7EEF-084F3B42D0E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40A35E7-98BB-41D5-88CD-98299F5DA7D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0" name="Content Placeholder 9">
            <a:extLst>
              <a:ext uri="{FF2B5EF4-FFF2-40B4-BE49-F238E27FC236}">
                <a16:creationId xmlns:a16="http://schemas.microsoft.com/office/drawing/2014/main" id="{B3AF9997-A481-D39A-49FA-6C9961190ED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5E0E8E60-3946-6328-93CD-35EC2C404F97}"/>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Equate Dispo Inno</a:t>
            </a:r>
          </a:p>
        </p:txBody>
      </p:sp>
      <p:sp>
        <p:nvSpPr>
          <p:cNvPr id="8" name="Title 7">
            <a:extLst>
              <a:ext uri="{FF2B5EF4-FFF2-40B4-BE49-F238E27FC236}">
                <a16:creationId xmlns:a16="http://schemas.microsoft.com/office/drawing/2014/main" id="{E3F556AD-1BD6-D976-AF62-9914FA69724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7FE874D0-FE83-58A9-757F-02A76672EB2D}"/>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D288C8B8-C5E3-6F79-9524-E0366D0EB77B}"/>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6841A4D8-B8C3-3C0C-FF79-C73F3D436C5B}"/>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A5443878-39A8-1A0D-3F5B-7CEF09A39BA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217D856E-FF8D-31A8-DACC-00796BC3E859}"/>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A03B98AF-CE6E-3199-80ED-09C10C0B8FD3}"/>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024327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2821F-9542-F9E0-6232-292768B002CA}"/>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646A5C6-B9EE-7EB5-7B9E-1BDC5CD5314E}"/>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E473DD91-99EA-F383-D1D1-C2C30A726BB8}"/>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8586D18B-5002-9CA9-B2C5-99313A0846AC}"/>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98F7B88A-4C84-DD96-2040-960DEF84C2E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dirty="0"/>
          </a:p>
        </p:txBody>
      </p:sp>
      <p:sp>
        <p:nvSpPr>
          <p:cNvPr id="8" name="Text Placeholder 7">
            <a:extLst>
              <a:ext uri="{FF2B5EF4-FFF2-40B4-BE49-F238E27FC236}">
                <a16:creationId xmlns:a16="http://schemas.microsoft.com/office/drawing/2014/main" id="{9096C5D2-F050-1406-C2A4-73B980BD94C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27734171-68C7-FFD8-447E-4C56DDC23FE9}"/>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Equate Dispo Inno</a:t>
            </a:r>
          </a:p>
        </p:txBody>
      </p:sp>
      <p:sp>
        <p:nvSpPr>
          <p:cNvPr id="3" name="Title 2">
            <a:extLst>
              <a:ext uri="{FF2B5EF4-FFF2-40B4-BE49-F238E27FC236}">
                <a16:creationId xmlns:a16="http://schemas.microsoft.com/office/drawing/2014/main" id="{30845E0C-ABC7-E9ED-D995-E89460BC3CEF}"/>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F3680976-B3C8-27CF-4ADF-0D58846FFC64}"/>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8C026D8-2E2A-4091-22BB-8341D551AFB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5E3489DF-A35A-8292-F48E-4F0497DD2D31}"/>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7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7147576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4C453-0C73-6B61-D588-CC98E6D9E6E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AABC786-5BA5-3B3A-CBFD-E678AEA3F9F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77080599-E459-0BCB-D53C-E9C03C05C283}"/>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C6078BB6-4AB7-DCF4-15A1-2195AD940634}"/>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9C95E334-A0D8-9147-6BBC-A014801BBB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8" name="Text Placeholder 7">
            <a:extLst>
              <a:ext uri="{FF2B5EF4-FFF2-40B4-BE49-F238E27FC236}">
                <a16:creationId xmlns:a16="http://schemas.microsoft.com/office/drawing/2014/main" id="{E4D31A89-4B87-2B84-98A7-B805F2E62F0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94ED2403-63E3-DF56-6B19-6BC81A55F93B}"/>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Equate Dispo In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685FC32-7537-6E43-86C5-38351F7BD5B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3FDD122D-175B-D298-03D2-07867692A3CC}"/>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2 Blade Disposable Razor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Caliber 3 Disposable Razor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Caliber 5 Disposable Razor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Equate 2 Blade Disposable Razors 12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Equate 2 Blade Disposable Razors 5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Equate Caliber 5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Equate Speed 3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Equate Speed 3 Disposable Razor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Bic Men Sensitive Single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Xtreme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Equate Caliber 3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Sensor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Bic Comfort 3 Sensitive Skin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2C74C826-32D7-EE06-9FEA-DE009F1F021E}"/>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3BAF287-2231-0E6F-47C8-8E6F8EB5DB0A}"/>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C6A4BC01-3302-EC86-158B-D2716B5F8E7C}"/>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84347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8F66-37EF-1342-B4BA-891C2AD3960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9F772CA-4E90-7907-C013-11175DBC50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4E930C61-686A-A0F8-998C-3932566A8CA4}"/>
              </a:ext>
            </a:extLst>
          </p:cNvPr>
          <p:cNvSpPr>
            <a:spLocks noGrp="1"/>
          </p:cNvSpPr>
          <p:nvPr>
            <p:ph type="body" sz="quarter" idx="18"/>
          </p:nvPr>
        </p:nvSpPr>
        <p:spPr/>
        <p:txBody>
          <a:bodyPr/>
          <a:lstStyle/>
          <a:p>
            <a:r>
              <a:t>Summary | Innovations | Equate Razor Inno</a:t>
            </a:r>
          </a:p>
        </p:txBody>
      </p:sp>
      <p:sp>
        <p:nvSpPr>
          <p:cNvPr id="2" name="Title 1">
            <a:extLst>
              <a:ext uri="{FF2B5EF4-FFF2-40B4-BE49-F238E27FC236}">
                <a16:creationId xmlns:a16="http://schemas.microsoft.com/office/drawing/2014/main" id="{07A01BBC-765F-D196-2934-35F470600E17}"/>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D0986C09-9119-469A-B5DF-13119482DD14}"/>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234FF8B4-76C6-54C6-2C41-C5C853559EEA}"/>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5</a:t>
            </a:fld>
            <a:endParaRPr lang="en-US"/>
          </a:p>
        </p:txBody>
      </p:sp>
      <p:graphicFrame>
        <p:nvGraphicFramePr>
          <p:cNvPr id="7" name="Table 6">
            <a:extLst>
              <a:ext uri="{FF2B5EF4-FFF2-40B4-BE49-F238E27FC236}">
                <a16:creationId xmlns:a16="http://schemas.microsoft.com/office/drawing/2014/main" id="{C148AC40-1A2E-5EB0-4F59-3299852C9A66}"/>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Equate 5 Blades 1 Handle + 2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Equate Easy Fit 5 blades 1 Handle + 5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1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FC96800D-419B-08A9-1C5C-A7243FEE43F4}"/>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2793636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E9C8C-446C-87AA-FCB4-4B672625DB3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C9E3802-1E2A-479B-FF53-D915ECACFC78}"/>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0BB988E-2221-7CCD-F585-97123E203D88}"/>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0F7BA47A-EA63-7FD9-4F38-B9CF411BE6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1D2DBDD4-27B7-9970-C7E8-FE1E203E7013}"/>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31287E5D-0432-99DD-CB09-25C465E9F80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0" name="Content Placeholder 9">
            <a:extLst>
              <a:ext uri="{FF2B5EF4-FFF2-40B4-BE49-F238E27FC236}">
                <a16:creationId xmlns:a16="http://schemas.microsoft.com/office/drawing/2014/main" id="{9DFB4275-BDD4-8DA8-04DF-5C2D39625A0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6E926840-158D-0975-EC72-CE49391498EA}"/>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Equate Razor Inno</a:t>
            </a:r>
          </a:p>
        </p:txBody>
      </p:sp>
      <p:sp>
        <p:nvSpPr>
          <p:cNvPr id="8" name="Title 7">
            <a:extLst>
              <a:ext uri="{FF2B5EF4-FFF2-40B4-BE49-F238E27FC236}">
                <a16:creationId xmlns:a16="http://schemas.microsoft.com/office/drawing/2014/main" id="{8E7D263E-ED3C-72B0-5C8B-E6EADD3C7BD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D6D88ABB-5C9F-17D1-EE72-A0C5D17D8821}"/>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D29BC288-B7E7-20A0-A1B0-675E88FC8BEF}"/>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21C04DF6-67BD-96EF-07E4-778C2EF9C73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6DF5BFE-B5D8-2B8D-7A49-298AC56EAAD6}"/>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496DD6FE-721B-1276-8173-A52C64536993}"/>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8595322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739EE-8F80-33B0-29E2-47D4810A0FA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E92C5F1-012E-A876-7D7D-B3C468F8621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83D7912-7E6B-0556-5507-EA63078633F1}"/>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0A1B980F-DC4D-28E2-5DFD-53484BAC091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9425A4-43FC-E59B-3EB9-535461F7551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dirty="0"/>
          </a:p>
        </p:txBody>
      </p:sp>
      <p:sp>
        <p:nvSpPr>
          <p:cNvPr id="8" name="Text Placeholder 7">
            <a:extLst>
              <a:ext uri="{FF2B5EF4-FFF2-40B4-BE49-F238E27FC236}">
                <a16:creationId xmlns:a16="http://schemas.microsoft.com/office/drawing/2014/main" id="{7C1F5D5D-4CE0-A339-D73C-8F4C8699187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E66EE5D-BF6F-14C2-86CD-D01875E30CFA}"/>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Equate Razor Inno</a:t>
            </a:r>
          </a:p>
        </p:txBody>
      </p:sp>
      <p:sp>
        <p:nvSpPr>
          <p:cNvPr id="3" name="Title 2">
            <a:extLst>
              <a:ext uri="{FF2B5EF4-FFF2-40B4-BE49-F238E27FC236}">
                <a16:creationId xmlns:a16="http://schemas.microsoft.com/office/drawing/2014/main" id="{9F37141B-102C-DA86-9FC9-D0A7EF4D8B23}"/>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B4ABCC97-52D9-020E-135C-6FF2EDD8FDB1}"/>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845B0354-665A-9735-8A74-977AEC807683}"/>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035D8C34-5AC2-CA09-7E5C-18380BCB8124}"/>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1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0172891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5DC8B-0488-F1BF-933F-B59848796F1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3E8EB3B-6784-A007-B7B0-0730BD93B562}"/>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C5E84E56-E54D-F75B-1AB9-2F2BF3458FDD}"/>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F604AFD3-2B5D-2894-3F05-F52759735EB4}"/>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54CEAE6-740B-3BBF-73C6-4B9FA04F979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8" name="Text Placeholder 7">
            <a:extLst>
              <a:ext uri="{FF2B5EF4-FFF2-40B4-BE49-F238E27FC236}">
                <a16:creationId xmlns:a16="http://schemas.microsoft.com/office/drawing/2014/main" id="{FBB4C1FC-1B34-6210-9362-5ED1BEB3281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839CAF13-A193-C0AA-A672-5C5BD088F393}"/>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Equate Razor In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AED211C4-53A1-FDE4-B034-1B980E2D2823}"/>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EDB93451-7168-6B1A-C61C-FBD3A673CFD9}"/>
              </a:ext>
            </a:extLst>
          </p:cNvPr>
          <p:cNvGraphicFramePr>
            <a:graphicFrameLocks noGrp="1"/>
          </p:cNvGraphicFramePr>
          <p:nvPr>
            <p:ph idx="4294967295"/>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5 Blades 1 Handle + 2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Easy Fit 5 blades 1 Handle + 5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Dollar Shave Club 6 Blades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Equate Easy Fit 5 blades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Harry's Men Fiv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Gillette Fusion 5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Hydro 5 Blade Sensitive 1 Handle + 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Dollar Shave Club 6 1 Handle + 2 Blad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Harry's 5 Blade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Equate 2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A76E4E3A-F0E2-BBCD-0915-EE49E5344FCD}"/>
              </a:ext>
            </a:extLst>
          </p:cNvPr>
          <p:cNvGraphicFramePr>
            <a:graphicFrameLocks/>
          </p:cNvGraphicFramePr>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F0152BD8-4DED-D70D-7DBC-BD097E57F327}"/>
              </a:ext>
            </a:extLst>
          </p:cNvPr>
          <p:cNvGraphicFramePr>
            <a:graphicFrameLocks/>
          </p:cNvGraphicFramePr>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64406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77635-6575-0769-8C49-A40A89EC0CC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9C4D07A-B05B-17A3-29D3-9D28EE7C8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B12E95D1-9B10-65DA-2FB7-823F77CEE84C}"/>
              </a:ext>
            </a:extLst>
          </p:cNvPr>
          <p:cNvSpPr>
            <a:spLocks noGrp="1"/>
          </p:cNvSpPr>
          <p:nvPr>
            <p:ph type="body" sz="quarter" idx="18"/>
          </p:nvPr>
        </p:nvSpPr>
        <p:spPr/>
        <p:txBody>
          <a:bodyPr/>
          <a:lstStyle/>
          <a:p>
            <a:r>
              <a:t>Summary | Innovations | Razor Inno (1)</a:t>
            </a:r>
          </a:p>
        </p:txBody>
      </p:sp>
      <p:sp>
        <p:nvSpPr>
          <p:cNvPr id="2" name="Title 1">
            <a:extLst>
              <a:ext uri="{FF2B5EF4-FFF2-40B4-BE49-F238E27FC236}">
                <a16:creationId xmlns:a16="http://schemas.microsoft.com/office/drawing/2014/main" id="{472BA7F3-7A3E-0FDA-D01F-09A814C78F9B}"/>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E9EA64B5-9FC3-BCFB-E1A5-C51219DC4338}"/>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C667AAFB-1623-DE50-761D-B53760DB14B2}"/>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9</a:t>
            </a:fld>
            <a:endParaRPr lang="en-US"/>
          </a:p>
        </p:txBody>
      </p:sp>
      <p:graphicFrame>
        <p:nvGraphicFramePr>
          <p:cNvPr id="7" name="Table 6">
            <a:extLst>
              <a:ext uri="{FF2B5EF4-FFF2-40B4-BE49-F238E27FC236}">
                <a16:creationId xmlns:a16="http://schemas.microsoft.com/office/drawing/2014/main" id="{C5447D95-0A99-25CB-6639-7B4E823F0773}"/>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Blade Pro Sensitive 1 Handle + 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1.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3 Blade Ingrown Defense 1 Handle + 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7.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Blade Advanced Hydration 1 Handle + 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4.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Four Blade 1 Handle + 4 Cartri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4.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9.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84F3B42A-19BC-2F81-1EDC-6958B6A2FE52}"/>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6027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B40E9-9C49-601A-18FF-3A13E77B7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98A5133-CFEA-4BB5-D084-F2B0F41A87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5D2BD827-F803-A5EB-717E-753CC4185242}"/>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B2008E1D-C733-69AE-4729-B55E09C55507}"/>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7BDC7F5E-0FF6-9FAF-50FD-F8E8A4C058A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dirty="0"/>
          </a:p>
        </p:txBody>
      </p:sp>
      <p:sp>
        <p:nvSpPr>
          <p:cNvPr id="8" name="Text Placeholder 7">
            <a:extLst>
              <a:ext uri="{FF2B5EF4-FFF2-40B4-BE49-F238E27FC236}">
                <a16:creationId xmlns:a16="http://schemas.microsoft.com/office/drawing/2014/main" id="{3041F9C3-F100-AEE5-EF8F-34C3659DB24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0CD31A02-FE5E-C7A9-B72C-AF53CF87931E}"/>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lades Inno (1)</a:t>
            </a:r>
          </a:p>
        </p:txBody>
      </p:sp>
      <p:sp>
        <p:nvSpPr>
          <p:cNvPr id="3" name="Title 2">
            <a:extLst>
              <a:ext uri="{FF2B5EF4-FFF2-40B4-BE49-F238E27FC236}">
                <a16:creationId xmlns:a16="http://schemas.microsoft.com/office/drawing/2014/main" id="{B192F230-1A91-3344-9A7B-8EC8E977177B}"/>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7538F353-C8E5-9EA2-1772-20BC6E7E13FD}"/>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C25629E5-8E87-755B-1E75-B99C4388786E}"/>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B77EBCE2-1D63-DC52-4E48-6C7CC8508C90}"/>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1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1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185630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97E28-2BEC-1020-A54D-7B07228D41E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0A6E712-AC20-3FD5-FF2B-207EEE800372}"/>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C062758-F002-DA8B-D192-48511EAF9FA4}"/>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274BA08A-E0E0-228B-706E-205F68D6655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DA923A3-147B-DA58-FA29-AAA81C46C7AB}"/>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87BF7107-59C3-A42A-C958-00052A4755A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10" name="Content Placeholder 9">
            <a:extLst>
              <a:ext uri="{FF2B5EF4-FFF2-40B4-BE49-F238E27FC236}">
                <a16:creationId xmlns:a16="http://schemas.microsoft.com/office/drawing/2014/main" id="{BC9D0195-B8F6-AAF5-AFBD-1B5C88BF26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39656F0-3130-AB9A-CA8D-4AB20D24021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Razor Inno (1)</a:t>
            </a:r>
          </a:p>
        </p:txBody>
      </p:sp>
      <p:sp>
        <p:nvSpPr>
          <p:cNvPr id="8" name="Title 7">
            <a:extLst>
              <a:ext uri="{FF2B5EF4-FFF2-40B4-BE49-F238E27FC236}">
                <a16:creationId xmlns:a16="http://schemas.microsoft.com/office/drawing/2014/main" id="{9B440C4C-B49C-43D5-7801-36E15BB9C0E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576B9E5-F8FD-14BF-81E7-A8CC3DDE7AFB}"/>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ECCC8C51-9058-7665-1219-48A2DF84DF5B}"/>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4585FD2E-3E5D-E3B5-65A9-BF2CA16877CC}"/>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672175D6-91ED-BDC1-C340-18FC850822C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DCE713C9-21D8-CBEB-EABB-2F44ACE7B6D3}"/>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B7BE4DA4-9576-5619-4DEF-0F44FBC148ED}"/>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CB2864FA-CC43-1006-3818-B25CE6EF5D6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683952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76A51-2521-6221-E8A0-29A9F25F002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601ABE3-41A3-6894-6E03-2F89C962D30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4AD4CF7-118E-EA18-53BA-6A921E975995}"/>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1C347688-2F1C-E536-AEE9-BBB53A4ABB80}"/>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C533CD97-D590-68D2-3A60-7C7142D8718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dirty="0"/>
          </a:p>
        </p:txBody>
      </p:sp>
      <p:sp>
        <p:nvSpPr>
          <p:cNvPr id="8" name="Text Placeholder 7">
            <a:extLst>
              <a:ext uri="{FF2B5EF4-FFF2-40B4-BE49-F238E27FC236}">
                <a16:creationId xmlns:a16="http://schemas.microsoft.com/office/drawing/2014/main" id="{99552CEA-7E3E-402C-91A4-1EE84561ECE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5BF79A9C-CF0D-118F-B302-CDE0C11824AF}"/>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Razor Inno (1)</a:t>
            </a:r>
          </a:p>
        </p:txBody>
      </p:sp>
      <p:sp>
        <p:nvSpPr>
          <p:cNvPr id="3" name="Title 2">
            <a:extLst>
              <a:ext uri="{FF2B5EF4-FFF2-40B4-BE49-F238E27FC236}">
                <a16:creationId xmlns:a16="http://schemas.microsoft.com/office/drawing/2014/main" id="{3489F460-3A7A-A297-C376-0B7B5FB208A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7AC927BC-A09E-6F34-7B4E-82962EF70D42}"/>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D51095B3-31BB-6C70-5094-407F48D51033}"/>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FEC3CC73-B159-0350-5E62-F7BA8F706A01}"/>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241727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189FD-6387-7A10-4EA3-E52AECCB172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33AAC36-2900-AD4B-E4E4-43AB7ED5234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2989676-6C3D-B081-6D0A-08468F99359A}"/>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EF56AD9-A7F2-4FAD-8094-3B80B5BE4CCE}"/>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9525516-7E03-A2F8-C1D5-A91A8E660B8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8" name="Text Placeholder 7">
            <a:extLst>
              <a:ext uri="{FF2B5EF4-FFF2-40B4-BE49-F238E27FC236}">
                <a16:creationId xmlns:a16="http://schemas.microsoft.com/office/drawing/2014/main" id="{72064F16-21CA-5B59-2D6F-8F5766AC286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543C9C97-B3D4-F5B3-5D0B-831A6C22A9A9}"/>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Razor Inno (1)</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649B62B-423A-E431-1951-3D70B19C01D9}"/>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6489CF05-F7D8-5E89-EC16-45F4853AE3AB}"/>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Pro Sensitive 1 Handle + 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Ingrown Defense 1 Handle + 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Advanced Hydration 1 Handle + 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Four Blade 1 Handle + 4 Cartri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1 Handle + 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9.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Gillette Mach 3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rry's Men Fiv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Gillette Mach 3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Schick Xtreme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Dollar Shave Club 6 1 Handle + 2 Blad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AD3D8428-81D9-5EC9-BC80-83B1F893128C}"/>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FAB8830E-AF7B-2234-D6B4-74A1CF17BDF0}"/>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8D28E10A-7597-0CE3-2CB0-27F67E724847}"/>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CDFD409F-B383-9EF4-F5EF-B63A893160EA}"/>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285029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64894-F19D-9964-181F-252479F24ED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7135A27-29CA-6D98-E420-1C1FC2AE15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C3A42614-02F3-C272-F2F7-A121BA2B1A49}"/>
              </a:ext>
            </a:extLst>
          </p:cNvPr>
          <p:cNvSpPr>
            <a:spLocks noGrp="1"/>
          </p:cNvSpPr>
          <p:nvPr>
            <p:ph type="body" sz="quarter" idx="18"/>
          </p:nvPr>
        </p:nvSpPr>
        <p:spPr/>
        <p:txBody>
          <a:bodyPr/>
          <a:lstStyle/>
          <a:p>
            <a:r>
              <a:t>Summary | Innovations | Razor Inno (2)</a:t>
            </a:r>
          </a:p>
        </p:txBody>
      </p:sp>
      <p:sp>
        <p:nvSpPr>
          <p:cNvPr id="2" name="Title 1">
            <a:extLst>
              <a:ext uri="{FF2B5EF4-FFF2-40B4-BE49-F238E27FC236}">
                <a16:creationId xmlns:a16="http://schemas.microsoft.com/office/drawing/2014/main" id="{C199E4AA-5CD6-4076-DF60-F8DE901CE6EC}"/>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F5E799AC-89CF-138D-9F08-1B1E766D5FC1}"/>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72720AA-07AB-DF43-7B0F-1FA6B6C20B77}"/>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3</a:t>
            </a:fld>
            <a:endParaRPr lang="en-US"/>
          </a:p>
        </p:txBody>
      </p:sp>
      <p:graphicFrame>
        <p:nvGraphicFramePr>
          <p:cNvPr id="7" name="Table 6">
            <a:extLst>
              <a:ext uri="{FF2B5EF4-FFF2-40B4-BE49-F238E27FC236}">
                <a16:creationId xmlns:a16="http://schemas.microsoft.com/office/drawing/2014/main" id="{72FA4B7B-998B-2E29-1726-4CEDEC9F1836}"/>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5 Blade Sensitive 1 Handle + 5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1.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7.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5.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Blade Sensitive 1 Handle + 8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8.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2.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6.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Blade Chrome 1 Handle + 3 Cartridges + Docking Station/Stand + Travel Cover</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2.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2.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Hydro 5 Groomer 1 Handle + 1 Cartridg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6.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D8D2BF6F-A019-537D-9F43-A05EBC30107A}"/>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9406406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64553-7534-84E0-014E-082F6561B6BE}"/>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FC42023-C399-398E-3EB8-B475107E199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7EE294F-69A1-18BA-5188-2C552BD585D1}"/>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8D094124-4CC6-0B61-BD0A-AB369671B88C}"/>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6144D3DB-A8BF-9413-C259-32E1C2937A66}"/>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383CD232-5F2B-54D3-1CC4-84A647D5270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10" name="Content Placeholder 9">
            <a:extLst>
              <a:ext uri="{FF2B5EF4-FFF2-40B4-BE49-F238E27FC236}">
                <a16:creationId xmlns:a16="http://schemas.microsoft.com/office/drawing/2014/main" id="{0BB7B3E9-7734-059A-47F9-0DF5D18A8A0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2652A9AF-EF68-FB6C-6037-C43C94ABBB5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Razor Inno (2)</a:t>
            </a:r>
          </a:p>
        </p:txBody>
      </p:sp>
      <p:sp>
        <p:nvSpPr>
          <p:cNvPr id="8" name="Title 7">
            <a:extLst>
              <a:ext uri="{FF2B5EF4-FFF2-40B4-BE49-F238E27FC236}">
                <a16:creationId xmlns:a16="http://schemas.microsoft.com/office/drawing/2014/main" id="{4E24A709-81E3-B7D1-7DBB-4283A1DA7DE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C65998B1-86F7-EF6D-71D7-92B6F809671C}"/>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459864EF-2B20-A794-FF2B-2F8B2EF17A97}"/>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4241FB63-85F9-DB2E-41CE-36F5BD6400C1}"/>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CB56133D-D90F-808E-8736-D074A8B1A6D0}"/>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072840A0-289F-C8D4-F882-95E5FD82217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37D93109-C5A4-3805-4FD6-762B909D9ABE}"/>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5C78A43-7880-4718-545D-8BFCA47302C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5836754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5C55A-C2DE-BC22-4AB8-C082E9D1AB07}"/>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8611D57-50F4-FC0D-71A0-48231FD4214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CB401CF6-7EE4-7D14-48A3-391D679DFE79}"/>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AEBC86BD-44E6-5CCB-3DE9-F79D4D776221}"/>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037899C-2382-5BE8-9AD4-47F7DEA5A72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dirty="0"/>
          </a:p>
        </p:txBody>
      </p:sp>
      <p:sp>
        <p:nvSpPr>
          <p:cNvPr id="8" name="Text Placeholder 7">
            <a:extLst>
              <a:ext uri="{FF2B5EF4-FFF2-40B4-BE49-F238E27FC236}">
                <a16:creationId xmlns:a16="http://schemas.microsoft.com/office/drawing/2014/main" id="{3B0B4D7A-20BD-0B01-6519-677B276A0B2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13B71E4C-4A85-1448-E41C-DF9BDC1A81EC}"/>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Razor Inno (2)</a:t>
            </a:r>
          </a:p>
        </p:txBody>
      </p:sp>
      <p:sp>
        <p:nvSpPr>
          <p:cNvPr id="3" name="Title 2">
            <a:extLst>
              <a:ext uri="{FF2B5EF4-FFF2-40B4-BE49-F238E27FC236}">
                <a16:creationId xmlns:a16="http://schemas.microsoft.com/office/drawing/2014/main" id="{B3E63E63-3DA4-0C1F-C99D-23A459FA1B65}"/>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32F58AE0-B1D8-A7FE-C552-8A49C9A1A82C}"/>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1392D299-A5A1-006E-BE1B-A17A13D7FF63}"/>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537BD4CD-4B06-D82E-FFEE-95EFB357665A}"/>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861917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287E9-0769-2F25-0971-F87661E8ACEE}"/>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AC49778-BD53-BE8F-79FB-3731C7CF144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F45454A-6F3C-5F5B-69F4-0F9A3BD83900}"/>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B6E37CEE-1FDB-FC21-A3D7-35CFE33FB7A2}"/>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C6FBCCD3-D045-4F70-EDB3-CD854A42C70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8" name="Text Placeholder 7">
            <a:extLst>
              <a:ext uri="{FF2B5EF4-FFF2-40B4-BE49-F238E27FC236}">
                <a16:creationId xmlns:a16="http://schemas.microsoft.com/office/drawing/2014/main" id="{592EC3B1-2AAE-BAC9-DCF3-313D1B466A9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6611A13F-180D-CFF2-E36F-3FDED6D069AA}"/>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Razor Inno (2)</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DF67069A-FFC6-6263-6BBD-C08A7330045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D0727D19-F903-9AB1-6ECC-D3731516A4A7}"/>
              </a:ext>
            </a:extLst>
          </p:cNvPr>
          <p:cNvGraphicFramePr>
            <a:graphicFrameLocks noGrp="1"/>
          </p:cNvGraphicFramePr>
          <p:nvPr>
            <p:ph idx="4294967295"/>
            <p:extLst>
              <p:ext uri="{D42A27DB-BD31-4B8C-83A1-F6EECF244321}">
                <p14:modId xmlns:p14="http://schemas.microsoft.com/office/powerpoint/2010/main" val="3065730508"/>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1 Handle + 5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1 Handle + 8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dirty="0">
                          <a:solidFill>
                            <a:srgbClr val="575555"/>
                          </a:solidFill>
                        </a:rPr>
                        <a:t>Schick Hydro 5 Blade Chrome 1 Handle + 3 Cartridges + Docking + Travel Cover</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Groomer 1 Handle + 1 Cartridge</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1 Handle + 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7.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rry's Men Fiv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Gillette Mach 3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Fusion 5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dirty="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ADF63C03-DF5D-395F-D60C-9B90CEB483F0}"/>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2C236FA7-48DA-514E-A957-4F81E09A623B}"/>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1393ACDD-233E-3708-B171-36DA9E09DD0C}"/>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C3CEEFD3-0F79-B388-3E18-F9595D03E706}"/>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11395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065A6-BDA3-9082-AB54-31ACAD42FFC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D369A9C-A697-24DB-357F-326BF0B1EB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A8D39E73-C028-CECD-A670-D9E9F82C5FCA}"/>
              </a:ext>
            </a:extLst>
          </p:cNvPr>
          <p:cNvSpPr>
            <a:spLocks noGrp="1"/>
          </p:cNvSpPr>
          <p:nvPr>
            <p:ph type="body" sz="quarter" idx="18"/>
          </p:nvPr>
        </p:nvSpPr>
        <p:spPr/>
        <p:txBody>
          <a:bodyPr/>
          <a:lstStyle/>
          <a:p>
            <a:r>
              <a:t>Summary | Innovations | Wilkinson Sword</a:t>
            </a:r>
          </a:p>
        </p:txBody>
      </p:sp>
      <p:sp>
        <p:nvSpPr>
          <p:cNvPr id="2" name="Title 1">
            <a:extLst>
              <a:ext uri="{FF2B5EF4-FFF2-40B4-BE49-F238E27FC236}">
                <a16:creationId xmlns:a16="http://schemas.microsoft.com/office/drawing/2014/main" id="{B609ACAF-8B15-879D-C4EA-CCA7E11BC89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149CD5F9-7185-4E6B-C870-A0C7072DCF1F}"/>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33C7EC75-730D-7397-45CF-2B5432C23CD8}"/>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7</a:t>
            </a:fld>
            <a:endParaRPr lang="en-US"/>
          </a:p>
        </p:txBody>
      </p:sp>
      <p:graphicFrame>
        <p:nvGraphicFramePr>
          <p:cNvPr id="7" name="Table 6">
            <a:extLst>
              <a:ext uri="{FF2B5EF4-FFF2-40B4-BE49-F238E27FC236}">
                <a16:creationId xmlns:a16="http://schemas.microsoft.com/office/drawing/2014/main" id="{FB675F59-DD5E-148B-2AEA-B7948C6E2478}"/>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Wilkinson Sword Classic Double Edge 1 Handle + 5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6.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7.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1BD80115-5887-2136-AAA3-FA18D59295FC}"/>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2924560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D4A78-50AA-9DCE-60E9-7223BD20B203}"/>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4B08DD0-15DD-7004-8C7A-64ACA3F9B5A2}"/>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85892022-79CD-63C4-B733-7178AD390B6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D93C5484-1EF4-5759-E085-98185BC2D048}"/>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E0B203C-1EDE-3615-8D86-AEF9192B5A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10" name="Content Placeholder 9">
            <a:extLst>
              <a:ext uri="{FF2B5EF4-FFF2-40B4-BE49-F238E27FC236}">
                <a16:creationId xmlns:a16="http://schemas.microsoft.com/office/drawing/2014/main" id="{DB276D35-A2DA-AD04-3250-DC071CE72F9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A2EF3BE9-15DD-0BBF-5EF2-968874CF6CA0}"/>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Wilkinson Sword</a:t>
            </a:r>
          </a:p>
        </p:txBody>
      </p:sp>
      <p:sp>
        <p:nvSpPr>
          <p:cNvPr id="8" name="Title 7">
            <a:extLst>
              <a:ext uri="{FF2B5EF4-FFF2-40B4-BE49-F238E27FC236}">
                <a16:creationId xmlns:a16="http://schemas.microsoft.com/office/drawing/2014/main" id="{C72B3C2A-202E-DEE8-1C14-93A0DDADCA2A}"/>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833582E7-8A08-0313-B961-3A3705245E3C}"/>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98F8146-79A5-DA96-C219-2F5A1D49B2F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FD7E4053-5536-9D98-9F03-3D308247B270}"/>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408EDD1B-154E-9971-82B5-9390A715B007}"/>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FCD63EB7-FA86-32E5-997F-D3E7A952CD98}"/>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6124409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08E7E-B962-73EC-4C03-8BF1846E57C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563A404-8572-D9C9-FFC2-A4E6A373DC3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16CFF86-8FB1-248F-2E33-ACA3AFABCD60}"/>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4A8B46A9-DAF7-4AA7-0FC6-BD650B8AEF5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34E96E9B-F785-3999-FEBF-7E597244418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dirty="0"/>
          </a:p>
        </p:txBody>
      </p:sp>
      <p:sp>
        <p:nvSpPr>
          <p:cNvPr id="8" name="Text Placeholder 7">
            <a:extLst>
              <a:ext uri="{FF2B5EF4-FFF2-40B4-BE49-F238E27FC236}">
                <a16:creationId xmlns:a16="http://schemas.microsoft.com/office/drawing/2014/main" id="{9CF4966C-1C44-1339-EF4E-660E403E5ED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B40B9DD7-A1F5-E8D9-346B-CF0A5CF9BEC4}"/>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Wilkinson Sword</a:t>
            </a:r>
          </a:p>
        </p:txBody>
      </p:sp>
      <p:sp>
        <p:nvSpPr>
          <p:cNvPr id="3" name="Title 2">
            <a:extLst>
              <a:ext uri="{FF2B5EF4-FFF2-40B4-BE49-F238E27FC236}">
                <a16:creationId xmlns:a16="http://schemas.microsoft.com/office/drawing/2014/main" id="{DDA7DE9E-1624-7ACB-54BA-58B5D70204FD}"/>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A0DBE355-D226-838A-1C9B-B1107B6BBB8A}"/>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F5621B00-056B-7855-F046-E06AE5ABEC82}"/>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18FA5B62-FE63-8CD3-AA07-1DD999A8D665}"/>
              </a:ext>
            </a:extLst>
          </p:cNvPr>
          <p:cNvGraphicFramePr>
            <a:graphicFrameLocks/>
          </p:cNvGraphicFramePr>
          <p:nvPr>
            <p:extLst>
              <p:ext uri="{D42A27DB-BD31-4B8C-83A1-F6EECF244321}">
                <p14:modId xmlns:p14="http://schemas.microsoft.com/office/powerpoint/2010/main" val="734797538"/>
              </p:ext>
            </p:extLst>
          </p:nvPr>
        </p:nvGraphicFramePr>
        <p:xfrm>
          <a:off x="174228" y="3979225"/>
          <a:ext cx="8464425" cy="32004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dirty="0"/>
                        <a:t>2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bl>
          </a:graphicData>
        </a:graphic>
      </p:graphicFrame>
    </p:spTree>
    <p:extLst>
      <p:ext uri="{BB962C8B-B14F-4D97-AF65-F5344CB8AC3E}">
        <p14:creationId xmlns:p14="http://schemas.microsoft.com/office/powerpoint/2010/main" val="2901512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B4ED8-5901-765C-7C66-44965AC66D2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69CC59B-0765-DBA2-D334-7751062F5E2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1A858ED9-5182-55B3-33AD-2D331FE6E460}"/>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15C0635F-B377-9CF4-02FB-C3616DB6E6D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923C947-BC0A-01C0-B5BA-42225059166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8" name="Text Placeholder 7">
            <a:extLst>
              <a:ext uri="{FF2B5EF4-FFF2-40B4-BE49-F238E27FC236}">
                <a16:creationId xmlns:a16="http://schemas.microsoft.com/office/drawing/2014/main" id="{F1CFB7DD-8D40-14E2-0CE5-3F26DFC4C3A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517AD11D-5119-A0F7-C2C6-6D3B700583E5}"/>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lades Inno (1)</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DCE4F612-8BBA-58E1-4B74-8CAD2873444D}"/>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559F18CF-8010-2FC7-83D6-088040BB7860}"/>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Pro Sensitiv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Refills 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Four Blade Refill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Four Blad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Refills 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7.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rry's Men Fiv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Hydro 3 Blade Ultra Sensitive Refills 5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Fusion 5 Proglid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Van Der Hagen Men Double Edge Blade Refills 1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7E449C2D-2583-A3EB-E2DD-84FD480A6C5A}"/>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7862BF2D-289F-8402-30FC-460E005D3F9B}"/>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C9FC633A-4E19-ACA6-088E-073AD10E5E47}"/>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1596952C-DA84-802E-6EF2-B9F1156F5346}"/>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371482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6F79A-9FF2-9E9F-F3B4-C57239D6B87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8859E0D-2CBD-F092-8288-2EA34CBBAA7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69E7EF85-AC28-ED4A-6302-12B3858A4BF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9C470492-47EF-ED2D-8409-B2900E703A84}"/>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C35B7ABA-08B2-D87A-6515-77C57358C32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8" name="Text Placeholder 7">
            <a:extLst>
              <a:ext uri="{FF2B5EF4-FFF2-40B4-BE49-F238E27FC236}">
                <a16:creationId xmlns:a16="http://schemas.microsoft.com/office/drawing/2014/main" id="{9E779B92-BFD5-8ADB-6444-446A6CE6E06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E9AE5BFB-D6E2-04FB-C770-F13F64242B19}"/>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Wilkinson Sword</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EB61096E-EBB1-7599-0ABD-58D5848D6FB3}"/>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95956945-885B-7AD1-7EFF-C9B7DBE6911B}"/>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Wilkinson Sword Classic Double Edge 1 Handle + 5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Gillette Mach 3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Schick Hydro 5 Blade Sensitive 1 Handle + 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rry's Men Fiv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Schick Hydro 5 Blade Sensitive Refills 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Harry's 5 Blade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2A64D13B-F122-77D8-C576-EBC364B93E95}"/>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4076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B3791-EE55-3AA7-4A4E-45218A0CA9A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2844D8B-AEC9-5BAA-59D8-E1E7037217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8B63C938-7819-3590-51FB-DE28C7F98E8A}"/>
              </a:ext>
            </a:extLst>
          </p:cNvPr>
          <p:cNvSpPr>
            <a:spLocks noGrp="1"/>
          </p:cNvSpPr>
          <p:nvPr>
            <p:ph type="body" sz="quarter" idx="18"/>
          </p:nvPr>
        </p:nvSpPr>
        <p:spPr/>
        <p:txBody>
          <a:bodyPr/>
          <a:lstStyle/>
          <a:p>
            <a:r>
              <a:t>Summary | Innovations | Blades Inno (2)</a:t>
            </a:r>
          </a:p>
        </p:txBody>
      </p:sp>
      <p:sp>
        <p:nvSpPr>
          <p:cNvPr id="2" name="Title 1">
            <a:extLst>
              <a:ext uri="{FF2B5EF4-FFF2-40B4-BE49-F238E27FC236}">
                <a16:creationId xmlns:a16="http://schemas.microsoft.com/office/drawing/2014/main" id="{99C4D544-8DA8-1759-2F22-AD66C7CDCF9C}"/>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5BB5996C-0612-759A-5415-9CE5028C53D6}"/>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BAC57FA1-E24E-648A-8B42-0751668303E8}"/>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2DA9EFE3-345D-6F3E-1915-2FA6A632837E}"/>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Schick Hydro 3 Blade Ingrown Defens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Schick Hydro 5 Blade Advanced Hydration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6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Schick Hydro 5 Blade Chrom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15BDBAD3-FAD3-1BFE-A429-D70D95A0CC98}"/>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973924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3F1EF-C7CE-1149-67ED-6A02A5BC7A6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3CA9A3F-9B7C-8E03-AC79-CAAB6E16912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049B327-49E4-D513-78C6-56172DB149B8}"/>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9A40446-A270-A0E9-C960-90D56F5C0E1B}"/>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536F156D-28A5-40CE-4F0E-23E92E2B1A34}"/>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65EF8E11-5AD8-62F9-1619-0692C5620A2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45773979-1DB7-0BA2-FE6F-ADE85084EFE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C41DD877-32E7-D798-784D-31399EEB37F9}"/>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lades Inno (2)</a:t>
            </a:r>
          </a:p>
        </p:txBody>
      </p:sp>
      <p:sp>
        <p:nvSpPr>
          <p:cNvPr id="8" name="Title 7">
            <a:extLst>
              <a:ext uri="{FF2B5EF4-FFF2-40B4-BE49-F238E27FC236}">
                <a16:creationId xmlns:a16="http://schemas.microsoft.com/office/drawing/2014/main" id="{7D6220D3-9058-1754-1A68-4DB6F366E679}"/>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EAF3744A-246E-5F83-64EE-FB8B3D9C3AB9}"/>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14765F1F-495E-ABB1-2621-3F28C48CB377}"/>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5AEF0FF6-32B6-BF4F-BFFC-7D95EA35A095}"/>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1E2C1EB3-B3B6-70C8-6F1F-50C485E6992A}"/>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C884F118-F3FE-7493-D469-C45401BCBAE8}"/>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C2651ED0-1506-AF22-1814-C2A488BD08A4}"/>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690145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2CFEF-0855-CC1D-C698-94578044712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4BE43D3-9A3E-52B5-EB0A-9BFCD9CF038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85FE812D-A63A-F6DE-B5D9-1DCC29D51474}"/>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F025729E-CC56-6459-54CF-7338F3E01E07}"/>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1E7F56A9-AB3E-3391-3FE8-3DC5D14A4D8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dirty="0"/>
          </a:p>
        </p:txBody>
      </p:sp>
      <p:sp>
        <p:nvSpPr>
          <p:cNvPr id="8" name="Text Placeholder 7">
            <a:extLst>
              <a:ext uri="{FF2B5EF4-FFF2-40B4-BE49-F238E27FC236}">
                <a16:creationId xmlns:a16="http://schemas.microsoft.com/office/drawing/2014/main" id="{EADD0E4D-8362-6EE1-7622-485839A276E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E590627E-410D-7594-3667-3DE0257B4458}"/>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lades Inno (2)</a:t>
            </a:r>
          </a:p>
        </p:txBody>
      </p:sp>
      <p:sp>
        <p:nvSpPr>
          <p:cNvPr id="3" name="Title 2">
            <a:extLst>
              <a:ext uri="{FF2B5EF4-FFF2-40B4-BE49-F238E27FC236}">
                <a16:creationId xmlns:a16="http://schemas.microsoft.com/office/drawing/2014/main" id="{64CFA55A-916B-833E-12A0-677CE820E998}"/>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F11AAA98-EAF7-7369-1C29-3E7B3292A3DC}"/>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8157BABC-D78F-A0ED-BBC0-9BC0FBCCC964}"/>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3186D64B-7B0A-EC6F-DB25-342160329EE8}"/>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6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44982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9A082-BA0A-00FF-5E90-E6B8C064402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F1AE06-E43F-251D-D02E-5B0089D5599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A3A65F3-226F-E5AF-7B0A-313B5BEBC4A5}"/>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FABAB8DE-F7B3-91E1-9B34-6064042113F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B0329F7C-DB79-C67E-C1F3-62F181956EF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8" name="Text Placeholder 7">
            <a:extLst>
              <a:ext uri="{FF2B5EF4-FFF2-40B4-BE49-F238E27FC236}">
                <a16:creationId xmlns:a16="http://schemas.microsoft.com/office/drawing/2014/main" id="{7E6BC954-CECB-B2D9-EFA7-CA8EA63439C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C68753E-01E4-DA06-E0AF-4A7C0B8F527D}"/>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lades Inno (2)</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C33D3748-3BDC-92A1-43D4-7CCEF49DCF85}"/>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1C272CE5-2227-8932-5940-F7610ED3F695}"/>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Ingrown Defens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Advanced Hydration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Chrom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Refills 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9.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Schick Hydro 5 Blade Sensitive Refill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Schick Hydro 3 Blade Ultra Sensitive Refills 5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3.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Harry's Men Fiv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Gillette Fusion 5 Proglid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536E4A06-057A-C59C-7449-78D7CC936B4B}"/>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845D18F1-1D52-8BBD-A64F-E4AD242D5779}"/>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78C51CCE-40D0-83C3-C8FE-0EF830D24C6B}"/>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15997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FEF75-8204-7457-E9AD-D5019CC8345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41EFD08-4EBE-06FD-D926-FA7CEE2654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4331A35A-7234-DC6F-158B-019BE4107AF3}"/>
              </a:ext>
            </a:extLst>
          </p:cNvPr>
          <p:cNvSpPr>
            <a:spLocks noGrp="1"/>
          </p:cNvSpPr>
          <p:nvPr>
            <p:ph type="body" sz="quarter" idx="18"/>
          </p:nvPr>
        </p:nvSpPr>
        <p:spPr/>
        <p:txBody>
          <a:bodyPr/>
          <a:lstStyle/>
          <a:p>
            <a:r>
              <a:t>Summary | Innovations | Dispo Inno (1)</a:t>
            </a:r>
          </a:p>
        </p:txBody>
      </p:sp>
      <p:sp>
        <p:nvSpPr>
          <p:cNvPr id="2" name="Title 1">
            <a:extLst>
              <a:ext uri="{FF2B5EF4-FFF2-40B4-BE49-F238E27FC236}">
                <a16:creationId xmlns:a16="http://schemas.microsoft.com/office/drawing/2014/main" id="{15A027FF-5D12-688B-E172-E46C9928DAF4}"/>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9D29B70C-8B33-873D-ECEA-DB0CFCCCC7A8}"/>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00BA3459-F66C-6BB7-19C6-A1258DB98079}"/>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9</a:t>
            </a:fld>
            <a:endParaRPr lang="en-US"/>
          </a:p>
        </p:txBody>
      </p:sp>
      <p:graphicFrame>
        <p:nvGraphicFramePr>
          <p:cNvPr id="7" name="Table 6">
            <a:extLst>
              <a:ext uri="{FF2B5EF4-FFF2-40B4-BE49-F238E27FC236}">
                <a16:creationId xmlns:a16="http://schemas.microsoft.com/office/drawing/2014/main" id="{94533ADF-8701-3132-BFB2-4CF163CCB4D6}"/>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696912">
                <a:tc>
                  <a:txBody>
                    <a:bodyPr/>
                    <a:lstStyle/>
                    <a:p>
                      <a:pPr algn="ctr">
                        <a:defRPr sz="800">
                          <a:latin typeface="Nexa Book"/>
                        </a:defRPr>
                      </a:pPr>
                      <a:r>
                        <a:rPr sz="700"/>
                        <a:t>Schick Xtreme 2 Sensitive Disposable Razors 2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7.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5.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4.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696912">
                <a:tc>
                  <a:txBody>
                    <a:bodyPr/>
                    <a:lstStyle/>
                    <a:p>
                      <a:pPr algn="ctr">
                        <a:defRPr sz="800">
                          <a:latin typeface="Nexa Book"/>
                        </a:defRPr>
                      </a:pPr>
                      <a:r>
                        <a:rPr sz="700"/>
                        <a:t>Schick Xtreme 5 Sensitive Disposable Razors 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696912">
                <a:tc>
                  <a:txBody>
                    <a:bodyPr/>
                    <a:lstStyle/>
                    <a:p>
                      <a:pPr algn="ctr">
                        <a:defRPr sz="800">
                          <a:latin typeface="Nexa Book"/>
                        </a:defRPr>
                      </a:pPr>
                      <a:r>
                        <a:rPr sz="700"/>
                        <a:t>Schick Xtreme 5 Sensitive Disposable Razors 8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696912">
                <a:tc>
                  <a:txBody>
                    <a:bodyPr/>
                    <a:lstStyle/>
                    <a:p>
                      <a:pPr algn="ctr">
                        <a:defRPr sz="800">
                          <a:latin typeface="Nexa Book"/>
                        </a:defRPr>
                      </a:pPr>
                      <a:r>
                        <a:rPr sz="700"/>
                        <a:t>Schick Xtreme 3 Body &amp; Groin Disposable Razor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8.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696912">
                <a:tc>
                  <a:txBody>
                    <a:bodyPr/>
                    <a:lstStyle/>
                    <a:p>
                      <a:pPr algn="ctr">
                        <a:defRPr sz="800">
                          <a:latin typeface="Nexa Book"/>
                        </a:defRPr>
                      </a:pPr>
                      <a:r>
                        <a:rPr sz="700"/>
                        <a:t>Schick Hydro 5 Ultimate Comfort Disposable Razor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74E0AF9D-4A5B-F9AC-8FC6-FB1163EA7119}"/>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118970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201</Words>
  <Application>Microsoft Office PowerPoint</Application>
  <PresentationFormat>On-screen Show (16:9)</PresentationFormat>
  <Paragraphs>1234</Paragraphs>
  <Slides>40</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8</cp:revision>
  <dcterms:created xsi:type="dcterms:W3CDTF">2024-07-08T12:20:01Z</dcterms:created>
  <dcterms:modified xsi:type="dcterms:W3CDTF">2025-08-19T11:1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